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48" r:id="rId4"/>
  </p:sldMasterIdLst>
  <p:notesMasterIdLst>
    <p:notesMasterId r:id="rId21"/>
  </p:notesMasterIdLst>
  <p:handoutMasterIdLst>
    <p:handoutMasterId r:id="rId22"/>
  </p:handoutMasterIdLst>
  <p:sldIdLst>
    <p:sldId id="258" r:id="rId5"/>
    <p:sldId id="296" r:id="rId6"/>
    <p:sldId id="297" r:id="rId7"/>
    <p:sldId id="259" r:id="rId8"/>
    <p:sldId id="298" r:id="rId9"/>
    <p:sldId id="262" r:id="rId10"/>
    <p:sldId id="260" r:id="rId11"/>
    <p:sldId id="300" r:id="rId12"/>
    <p:sldId id="291" r:id="rId13"/>
    <p:sldId id="299" r:id="rId14"/>
    <p:sldId id="301" r:id="rId15"/>
    <p:sldId id="302" r:id="rId16"/>
    <p:sldId id="303" r:id="rId17"/>
    <p:sldId id="304" r:id="rId18"/>
    <p:sldId id="305" r:id="rId19"/>
    <p:sldId id="276" r:id="rId20"/>
  </p:sldIdLst>
  <p:sldSz cx="12192000" cy="6858000"/>
  <p:notesSz cx="6858000" cy="9144000"/>
  <p:defaultTextStyle>
    <a:defPPr rtl="0">
      <a:defRPr lang="en-gb"/>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C567A"/>
    <a:srgbClr val="0D1D51"/>
    <a:srgbClr val="0072C7"/>
    <a:srgbClr val="666666"/>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813EC810-6CA5-42F3-8135-A2EE86DFC462}" v="1" dt="2023-10-19T22:45:52.597"/>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362" autoAdjust="0"/>
    <p:restoredTop sz="87949" autoAdjust="0"/>
  </p:normalViewPr>
  <p:slideViewPr>
    <p:cSldViewPr snapToGrid="0" showGuides="1">
      <p:cViewPr varScale="1">
        <p:scale>
          <a:sx n="61" d="100"/>
          <a:sy n="61" d="100"/>
        </p:scale>
        <p:origin x="908" y="60"/>
      </p:cViewPr>
      <p:guideLst>
        <p:guide orient="horz" pos="2160"/>
        <p:guide pos="3840"/>
      </p:guideLst>
    </p:cSldViewPr>
  </p:slideViewPr>
  <p:notesTextViewPr>
    <p:cViewPr>
      <p:scale>
        <a:sx n="200" d="100"/>
        <a:sy n="200" d="100"/>
      </p:scale>
      <p:origin x="0" y="0"/>
    </p:cViewPr>
  </p:notesTextViewPr>
  <p:sorterViewPr>
    <p:cViewPr>
      <p:scale>
        <a:sx n="100" d="100"/>
        <a:sy n="100" d="100"/>
      </p:scale>
      <p:origin x="0" y="0"/>
    </p:cViewPr>
  </p:sorterViewPr>
  <p:notesViewPr>
    <p:cSldViewPr snapToGrid="0">
      <p:cViewPr varScale="1">
        <p:scale>
          <a:sx n="89" d="100"/>
          <a:sy n="89" d="100"/>
        </p:scale>
        <p:origin x="3768" y="72"/>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tableStyles" Target="tableStyles.xml"/><Relationship Id="rId3" Type="http://schemas.openxmlformats.org/officeDocument/2006/relationships/customXml" Target="../customXml/item3.xml"/><Relationship Id="rId21" Type="http://schemas.openxmlformats.org/officeDocument/2006/relationships/notesMaster" Target="notesMasters/notesMaster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viewProps" Target="view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presProps" Target="presProps.xml"/><Relationship Id="rId28" Type="http://schemas.microsoft.com/office/2015/10/relationships/revisionInfo" Target="revisionInfo.xml"/><Relationship Id="rId10" Type="http://schemas.openxmlformats.org/officeDocument/2006/relationships/slide" Target="slides/slide6.xml"/><Relationship Id="rId19" Type="http://schemas.openxmlformats.org/officeDocument/2006/relationships/slide" Target="slides/slide15.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handoutMaster" Target="handoutMasters/handoutMaster1.xml"/><Relationship Id="rId27" Type="http://schemas.microsoft.com/office/2016/11/relationships/changesInfo" Target="changesInfos/changesInfo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Ron Ramshaw" userId="39c11d91-c08b-4521-a754-fac3417cbd1b" providerId="ADAL" clId="{813EC810-6CA5-42F3-8135-A2EE86DFC462}"/>
    <pc:docChg chg="custSel modSld sldOrd">
      <pc:chgData name="Ron Ramshaw" userId="39c11d91-c08b-4521-a754-fac3417cbd1b" providerId="ADAL" clId="{813EC810-6CA5-42F3-8135-A2EE86DFC462}" dt="2023-10-19T22:46:04.388" v="3"/>
      <pc:docMkLst>
        <pc:docMk/>
      </pc:docMkLst>
      <pc:sldChg chg="delSp mod modTransition delAnim">
        <pc:chgData name="Ron Ramshaw" userId="39c11d91-c08b-4521-a754-fac3417cbd1b" providerId="ADAL" clId="{813EC810-6CA5-42F3-8135-A2EE86DFC462}" dt="2023-10-19T22:45:52.597" v="1"/>
        <pc:sldMkLst>
          <pc:docMk/>
          <pc:sldMk cId="3167172060" sldId="258"/>
        </pc:sldMkLst>
        <pc:picChg chg="del">
          <ac:chgData name="Ron Ramshaw" userId="39c11d91-c08b-4521-a754-fac3417cbd1b" providerId="ADAL" clId="{813EC810-6CA5-42F3-8135-A2EE86DFC462}" dt="2023-10-19T22:45:19.701" v="0" actId="478"/>
          <ac:picMkLst>
            <pc:docMk/>
            <pc:sldMk cId="3167172060" sldId="258"/>
            <ac:picMk id="28" creationId="{E619DAFB-5748-EE90-316C-542E28459B0E}"/>
          </ac:picMkLst>
        </pc:picChg>
      </pc:sldChg>
      <pc:sldChg chg="delSp modTransition modAnim">
        <pc:chgData name="Ron Ramshaw" userId="39c11d91-c08b-4521-a754-fac3417cbd1b" providerId="ADAL" clId="{813EC810-6CA5-42F3-8135-A2EE86DFC462}" dt="2023-10-19T22:45:52.597" v="1"/>
        <pc:sldMkLst>
          <pc:docMk/>
          <pc:sldMk cId="3889987604" sldId="259"/>
        </pc:sldMkLst>
        <pc:picChg chg="del">
          <ac:chgData name="Ron Ramshaw" userId="39c11d91-c08b-4521-a754-fac3417cbd1b" providerId="ADAL" clId="{813EC810-6CA5-42F3-8135-A2EE86DFC462}" dt="2023-10-19T22:45:52.597" v="1"/>
          <ac:picMkLst>
            <pc:docMk/>
            <pc:sldMk cId="3889987604" sldId="259"/>
            <ac:picMk id="22" creationId="{C51D2EE5-B79C-744E-5BFB-56F6A0D3CE9D}"/>
          </ac:picMkLst>
        </pc:picChg>
      </pc:sldChg>
      <pc:sldChg chg="delSp modTransition modAnim">
        <pc:chgData name="Ron Ramshaw" userId="39c11d91-c08b-4521-a754-fac3417cbd1b" providerId="ADAL" clId="{813EC810-6CA5-42F3-8135-A2EE86DFC462}" dt="2023-10-19T22:45:52.597" v="1"/>
        <pc:sldMkLst>
          <pc:docMk/>
          <pc:sldMk cId="3993187795" sldId="260"/>
        </pc:sldMkLst>
        <pc:picChg chg="del">
          <ac:chgData name="Ron Ramshaw" userId="39c11d91-c08b-4521-a754-fac3417cbd1b" providerId="ADAL" clId="{813EC810-6CA5-42F3-8135-A2EE86DFC462}" dt="2023-10-19T22:45:52.597" v="1"/>
          <ac:picMkLst>
            <pc:docMk/>
            <pc:sldMk cId="3993187795" sldId="260"/>
            <ac:picMk id="6" creationId="{48FD6C26-1F5F-4112-0E67-CDD924DECB46}"/>
          </ac:picMkLst>
        </pc:picChg>
      </pc:sldChg>
      <pc:sldChg chg="delSp modTransition modAnim">
        <pc:chgData name="Ron Ramshaw" userId="39c11d91-c08b-4521-a754-fac3417cbd1b" providerId="ADAL" clId="{813EC810-6CA5-42F3-8135-A2EE86DFC462}" dt="2023-10-19T22:45:52.597" v="1"/>
        <pc:sldMkLst>
          <pc:docMk/>
          <pc:sldMk cId="3159085383" sldId="262"/>
        </pc:sldMkLst>
        <pc:picChg chg="del">
          <ac:chgData name="Ron Ramshaw" userId="39c11d91-c08b-4521-a754-fac3417cbd1b" providerId="ADAL" clId="{813EC810-6CA5-42F3-8135-A2EE86DFC462}" dt="2023-10-19T22:45:52.597" v="1"/>
          <ac:picMkLst>
            <pc:docMk/>
            <pc:sldMk cId="3159085383" sldId="262"/>
            <ac:picMk id="6" creationId="{47D58E90-8DD4-D667-F36D-3A259AEDC6B6}"/>
          </ac:picMkLst>
        </pc:picChg>
      </pc:sldChg>
      <pc:sldChg chg="delSp ord modTransition modAnim">
        <pc:chgData name="Ron Ramshaw" userId="39c11d91-c08b-4521-a754-fac3417cbd1b" providerId="ADAL" clId="{813EC810-6CA5-42F3-8135-A2EE86DFC462}" dt="2023-10-19T22:46:04.388" v="3"/>
        <pc:sldMkLst>
          <pc:docMk/>
          <pc:sldMk cId="1124779538" sldId="276"/>
        </pc:sldMkLst>
        <pc:picChg chg="del">
          <ac:chgData name="Ron Ramshaw" userId="39c11d91-c08b-4521-a754-fac3417cbd1b" providerId="ADAL" clId="{813EC810-6CA5-42F3-8135-A2EE86DFC462}" dt="2023-10-19T22:45:52.597" v="1"/>
          <ac:picMkLst>
            <pc:docMk/>
            <pc:sldMk cId="1124779538" sldId="276"/>
            <ac:picMk id="9" creationId="{E28A2A5A-5560-00E6-7359-69747D6D1849}"/>
          </ac:picMkLst>
        </pc:picChg>
      </pc:sldChg>
      <pc:sldChg chg="delSp modTransition modAnim">
        <pc:chgData name="Ron Ramshaw" userId="39c11d91-c08b-4521-a754-fac3417cbd1b" providerId="ADAL" clId="{813EC810-6CA5-42F3-8135-A2EE86DFC462}" dt="2023-10-19T22:45:52.597" v="1"/>
        <pc:sldMkLst>
          <pc:docMk/>
          <pc:sldMk cId="0" sldId="291"/>
        </pc:sldMkLst>
        <pc:picChg chg="del">
          <ac:chgData name="Ron Ramshaw" userId="39c11d91-c08b-4521-a754-fac3417cbd1b" providerId="ADAL" clId="{813EC810-6CA5-42F3-8135-A2EE86DFC462}" dt="2023-10-19T22:45:52.597" v="1"/>
          <ac:picMkLst>
            <pc:docMk/>
            <pc:sldMk cId="0" sldId="291"/>
            <ac:picMk id="25" creationId="{A429F963-0A1E-9D60-E092-385DA5EE407E}"/>
          </ac:picMkLst>
        </pc:picChg>
      </pc:sldChg>
      <pc:sldChg chg="delSp modTransition modAnim">
        <pc:chgData name="Ron Ramshaw" userId="39c11d91-c08b-4521-a754-fac3417cbd1b" providerId="ADAL" clId="{813EC810-6CA5-42F3-8135-A2EE86DFC462}" dt="2023-10-19T22:45:52.597" v="1"/>
        <pc:sldMkLst>
          <pc:docMk/>
          <pc:sldMk cId="1621755867" sldId="296"/>
        </pc:sldMkLst>
        <pc:picChg chg="del">
          <ac:chgData name="Ron Ramshaw" userId="39c11d91-c08b-4521-a754-fac3417cbd1b" providerId="ADAL" clId="{813EC810-6CA5-42F3-8135-A2EE86DFC462}" dt="2023-10-19T22:45:52.597" v="1"/>
          <ac:picMkLst>
            <pc:docMk/>
            <pc:sldMk cId="1621755867" sldId="296"/>
            <ac:picMk id="12" creationId="{3962A26D-CF06-5840-50A0-B72BFCA696AC}"/>
          </ac:picMkLst>
        </pc:picChg>
      </pc:sldChg>
      <pc:sldChg chg="delSp modTransition modAnim">
        <pc:chgData name="Ron Ramshaw" userId="39c11d91-c08b-4521-a754-fac3417cbd1b" providerId="ADAL" clId="{813EC810-6CA5-42F3-8135-A2EE86DFC462}" dt="2023-10-19T22:45:52.597" v="1"/>
        <pc:sldMkLst>
          <pc:docMk/>
          <pc:sldMk cId="2125226638" sldId="297"/>
        </pc:sldMkLst>
        <pc:picChg chg="del">
          <ac:chgData name="Ron Ramshaw" userId="39c11d91-c08b-4521-a754-fac3417cbd1b" providerId="ADAL" clId="{813EC810-6CA5-42F3-8135-A2EE86DFC462}" dt="2023-10-19T22:45:52.597" v="1"/>
          <ac:picMkLst>
            <pc:docMk/>
            <pc:sldMk cId="2125226638" sldId="297"/>
            <ac:picMk id="12" creationId="{B1351562-D19E-18E9-0E01-73265C889CE3}"/>
          </ac:picMkLst>
        </pc:picChg>
      </pc:sldChg>
      <pc:sldChg chg="delSp modTransition modAnim">
        <pc:chgData name="Ron Ramshaw" userId="39c11d91-c08b-4521-a754-fac3417cbd1b" providerId="ADAL" clId="{813EC810-6CA5-42F3-8135-A2EE86DFC462}" dt="2023-10-19T22:45:52.597" v="1"/>
        <pc:sldMkLst>
          <pc:docMk/>
          <pc:sldMk cId="3479402486" sldId="298"/>
        </pc:sldMkLst>
        <pc:picChg chg="del">
          <ac:chgData name="Ron Ramshaw" userId="39c11d91-c08b-4521-a754-fac3417cbd1b" providerId="ADAL" clId="{813EC810-6CA5-42F3-8135-A2EE86DFC462}" dt="2023-10-19T22:45:52.597" v="1"/>
          <ac:picMkLst>
            <pc:docMk/>
            <pc:sldMk cId="3479402486" sldId="298"/>
            <ac:picMk id="12" creationId="{482BD4A0-07F7-2135-2013-05A77D035F14}"/>
          </ac:picMkLst>
        </pc:picChg>
      </pc:sldChg>
      <pc:sldChg chg="delSp modTransition modAnim">
        <pc:chgData name="Ron Ramshaw" userId="39c11d91-c08b-4521-a754-fac3417cbd1b" providerId="ADAL" clId="{813EC810-6CA5-42F3-8135-A2EE86DFC462}" dt="2023-10-19T22:45:52.597" v="1"/>
        <pc:sldMkLst>
          <pc:docMk/>
          <pc:sldMk cId="3225398432" sldId="299"/>
        </pc:sldMkLst>
        <pc:picChg chg="del">
          <ac:chgData name="Ron Ramshaw" userId="39c11d91-c08b-4521-a754-fac3417cbd1b" providerId="ADAL" clId="{813EC810-6CA5-42F3-8135-A2EE86DFC462}" dt="2023-10-19T22:45:52.597" v="1"/>
          <ac:picMkLst>
            <pc:docMk/>
            <pc:sldMk cId="3225398432" sldId="299"/>
            <ac:picMk id="8" creationId="{A519A691-B0C9-7EE1-3B8E-3826F6A2A769}"/>
          </ac:picMkLst>
        </pc:picChg>
      </pc:sldChg>
      <pc:sldChg chg="delSp modTransition modAnim">
        <pc:chgData name="Ron Ramshaw" userId="39c11d91-c08b-4521-a754-fac3417cbd1b" providerId="ADAL" clId="{813EC810-6CA5-42F3-8135-A2EE86DFC462}" dt="2023-10-19T22:45:52.597" v="1"/>
        <pc:sldMkLst>
          <pc:docMk/>
          <pc:sldMk cId="3467994806" sldId="300"/>
        </pc:sldMkLst>
        <pc:picChg chg="del">
          <ac:chgData name="Ron Ramshaw" userId="39c11d91-c08b-4521-a754-fac3417cbd1b" providerId="ADAL" clId="{813EC810-6CA5-42F3-8135-A2EE86DFC462}" dt="2023-10-19T22:45:52.597" v="1"/>
          <ac:picMkLst>
            <pc:docMk/>
            <pc:sldMk cId="3467994806" sldId="300"/>
            <ac:picMk id="7" creationId="{923BEDBF-4B37-284C-608A-316EE8316198}"/>
          </ac:picMkLst>
        </pc:picChg>
      </pc:sldChg>
      <pc:sldChg chg="delSp modTransition modAnim">
        <pc:chgData name="Ron Ramshaw" userId="39c11d91-c08b-4521-a754-fac3417cbd1b" providerId="ADAL" clId="{813EC810-6CA5-42F3-8135-A2EE86DFC462}" dt="2023-10-19T22:45:52.597" v="1"/>
        <pc:sldMkLst>
          <pc:docMk/>
          <pc:sldMk cId="3556825138" sldId="301"/>
        </pc:sldMkLst>
        <pc:picChg chg="del">
          <ac:chgData name="Ron Ramshaw" userId="39c11d91-c08b-4521-a754-fac3417cbd1b" providerId="ADAL" clId="{813EC810-6CA5-42F3-8135-A2EE86DFC462}" dt="2023-10-19T22:45:52.597" v="1"/>
          <ac:picMkLst>
            <pc:docMk/>
            <pc:sldMk cId="3556825138" sldId="301"/>
            <ac:picMk id="7" creationId="{176DECC5-534D-265B-0F1D-27ECB31D7AFC}"/>
          </ac:picMkLst>
        </pc:picChg>
      </pc:sldChg>
      <pc:sldChg chg="delSp modTransition modAnim">
        <pc:chgData name="Ron Ramshaw" userId="39c11d91-c08b-4521-a754-fac3417cbd1b" providerId="ADAL" clId="{813EC810-6CA5-42F3-8135-A2EE86DFC462}" dt="2023-10-19T22:45:52.597" v="1"/>
        <pc:sldMkLst>
          <pc:docMk/>
          <pc:sldMk cId="4058606804" sldId="302"/>
        </pc:sldMkLst>
        <pc:picChg chg="del">
          <ac:chgData name="Ron Ramshaw" userId="39c11d91-c08b-4521-a754-fac3417cbd1b" providerId="ADAL" clId="{813EC810-6CA5-42F3-8135-A2EE86DFC462}" dt="2023-10-19T22:45:52.597" v="1"/>
          <ac:picMkLst>
            <pc:docMk/>
            <pc:sldMk cId="4058606804" sldId="302"/>
            <ac:picMk id="8" creationId="{C01D67EE-ED93-F457-3A9A-79535B8FAB47}"/>
          </ac:picMkLst>
        </pc:picChg>
      </pc:sldChg>
      <pc:sldChg chg="delSp modTransition modAnim">
        <pc:chgData name="Ron Ramshaw" userId="39c11d91-c08b-4521-a754-fac3417cbd1b" providerId="ADAL" clId="{813EC810-6CA5-42F3-8135-A2EE86DFC462}" dt="2023-10-19T22:45:52.597" v="1"/>
        <pc:sldMkLst>
          <pc:docMk/>
          <pc:sldMk cId="2118095102" sldId="303"/>
        </pc:sldMkLst>
        <pc:picChg chg="del">
          <ac:chgData name="Ron Ramshaw" userId="39c11d91-c08b-4521-a754-fac3417cbd1b" providerId="ADAL" clId="{813EC810-6CA5-42F3-8135-A2EE86DFC462}" dt="2023-10-19T22:45:52.597" v="1"/>
          <ac:picMkLst>
            <pc:docMk/>
            <pc:sldMk cId="2118095102" sldId="303"/>
            <ac:picMk id="8" creationId="{3FAC085F-1EC9-C4F2-872E-6ECC6AD1A1A8}"/>
          </ac:picMkLst>
        </pc:picChg>
      </pc:sldChg>
      <pc:sldChg chg="delSp modTransition modAnim">
        <pc:chgData name="Ron Ramshaw" userId="39c11d91-c08b-4521-a754-fac3417cbd1b" providerId="ADAL" clId="{813EC810-6CA5-42F3-8135-A2EE86DFC462}" dt="2023-10-19T22:45:52.597" v="1"/>
        <pc:sldMkLst>
          <pc:docMk/>
          <pc:sldMk cId="1764169101" sldId="304"/>
        </pc:sldMkLst>
        <pc:picChg chg="del">
          <ac:chgData name="Ron Ramshaw" userId="39c11d91-c08b-4521-a754-fac3417cbd1b" providerId="ADAL" clId="{813EC810-6CA5-42F3-8135-A2EE86DFC462}" dt="2023-10-19T22:45:52.597" v="1"/>
          <ac:picMkLst>
            <pc:docMk/>
            <pc:sldMk cId="1764169101" sldId="304"/>
            <ac:picMk id="8" creationId="{8A8DE25F-5FB1-E4FE-DB7B-A49A5F3DC766}"/>
          </ac:picMkLst>
        </pc:picChg>
      </pc:sldChg>
      <pc:sldChg chg="delSp modTransition modAnim">
        <pc:chgData name="Ron Ramshaw" userId="39c11d91-c08b-4521-a754-fac3417cbd1b" providerId="ADAL" clId="{813EC810-6CA5-42F3-8135-A2EE86DFC462}" dt="2023-10-19T22:45:52.597" v="1"/>
        <pc:sldMkLst>
          <pc:docMk/>
          <pc:sldMk cId="553985125" sldId="305"/>
        </pc:sldMkLst>
        <pc:picChg chg="del">
          <ac:chgData name="Ron Ramshaw" userId="39c11d91-c08b-4521-a754-fac3417cbd1b" providerId="ADAL" clId="{813EC810-6CA5-42F3-8135-A2EE86DFC462}" dt="2023-10-19T22:45:52.597" v="1"/>
          <ac:picMkLst>
            <pc:docMk/>
            <pc:sldMk cId="553985125" sldId="305"/>
            <ac:picMk id="8" creationId="{15AD03C1-C366-CB0E-B6AF-8FDF209C37A0}"/>
          </ac:picMkLst>
        </pc:picChg>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pPr rtl="0"/>
            <a:endParaRPr lang="en-GB"/>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pPr rtl="0"/>
            <a:fld id="{5B439651-5657-4ACE-8526-EB0EAFD83944}" type="datetime1">
              <a:rPr lang="en-GB" smtClean="0"/>
              <a:t>19/10/2023</a:t>
            </a:fld>
            <a:endParaRPr lang="en-GB"/>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pPr rtl="0"/>
            <a:endParaRPr lang="en-GB"/>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pPr rtl="0"/>
            <a:fld id="{C18A1656-FDB1-442A-B22F-67D2FDA9ED13}" type="slidenum">
              <a:rPr lang="en-GB" smtClean="0"/>
              <a:t>‹#›</a:t>
            </a:fld>
            <a:endParaRPr lang="en-GB"/>
          </a:p>
        </p:txBody>
      </p:sp>
    </p:spTree>
    <p:extLst>
      <p:ext uri="{BB962C8B-B14F-4D97-AF65-F5344CB8AC3E}">
        <p14:creationId xmlns:p14="http://schemas.microsoft.com/office/powerpoint/2010/main" val="3304785004"/>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pPr rtl="0"/>
            <a:endParaRPr lang="en-GB" noProof="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pPr rtl="0"/>
            <a:fld id="{90CA1872-591F-4558-AB14-AA939DCFAB16}" type="datetime1">
              <a:rPr lang="en-GB" noProof="0" smtClean="0"/>
              <a:t>19/10/2023</a:t>
            </a:fld>
            <a:endParaRPr lang="en-GB" noProof="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pPr rtl="0"/>
            <a:endParaRPr lang="en-GB" noProof="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rtl="0"/>
            <a:r>
              <a:rPr lang="en-GB" noProof="0"/>
              <a:t>Edit Master text styles</a:t>
            </a:r>
          </a:p>
          <a:p>
            <a:pPr lvl="1" rtl="0"/>
            <a:r>
              <a:rPr lang="en-GB" noProof="0"/>
              <a:t>Second level</a:t>
            </a:r>
          </a:p>
          <a:p>
            <a:pPr lvl="2" rtl="0"/>
            <a:r>
              <a:rPr lang="en-GB" noProof="0"/>
              <a:t>Third level</a:t>
            </a:r>
          </a:p>
          <a:p>
            <a:pPr lvl="3" rtl="0"/>
            <a:r>
              <a:rPr lang="en-GB" noProof="0"/>
              <a:t>Fourth level</a:t>
            </a:r>
          </a:p>
          <a:p>
            <a:pPr lvl="4" rtl="0"/>
            <a:r>
              <a:rPr lang="en-GB" noProof="0"/>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pPr rtl="0"/>
            <a:endParaRPr lang="en-GB" noProof="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pPr rtl="0"/>
            <a:fld id="{6336304E-FDE3-4B4F-A3B7-EBE87F3FA5E2}" type="slidenum">
              <a:rPr lang="en-GB" noProof="0" smtClean="0"/>
              <a:t>‹#›</a:t>
            </a:fld>
            <a:endParaRPr lang="en-GB" noProof="0"/>
          </a:p>
        </p:txBody>
      </p:sp>
    </p:spTree>
    <p:extLst>
      <p:ext uri="{BB962C8B-B14F-4D97-AF65-F5344CB8AC3E}">
        <p14:creationId xmlns:p14="http://schemas.microsoft.com/office/powerpoint/2010/main" val="4085138612"/>
      </p:ext>
    </p:extLst>
  </p:cSld>
  <p:clrMap bg1="lt1" tx1="dk1" bg2="lt2" tx2="dk2" accent1="accent1" accent2="accent2" accent3="accent3" accent4="accent4" accent5="accent5" accent6="accent6" hlink="hlink" folHlink="folHlink"/>
  <p:hf hdr="0" ft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0"/>
          <a:lstStyle/>
          <a:p>
            <a:pPr rtl="0"/>
            <a:endParaRPr lang="en-GB"/>
          </a:p>
        </p:txBody>
      </p:sp>
      <p:sp>
        <p:nvSpPr>
          <p:cNvPr id="4" name="Slide Number Placeholder 3"/>
          <p:cNvSpPr>
            <a:spLocks noGrp="1"/>
          </p:cNvSpPr>
          <p:nvPr>
            <p:ph type="sldNum" sz="quarter" idx="10"/>
          </p:nvPr>
        </p:nvSpPr>
        <p:spPr/>
        <p:txBody>
          <a:bodyPr rtlCol="0"/>
          <a:lstStyle/>
          <a:p>
            <a:pPr rtl="0"/>
            <a:fld id="{6336304E-FDE3-4B4F-A3B7-EBE87F3FA5E2}" type="slidenum">
              <a:rPr lang="en-GB" smtClean="0"/>
              <a:t>1</a:t>
            </a:fld>
            <a:endParaRPr lang="en-GB"/>
          </a:p>
        </p:txBody>
      </p:sp>
    </p:spTree>
    <p:extLst>
      <p:ext uri="{BB962C8B-B14F-4D97-AF65-F5344CB8AC3E}">
        <p14:creationId xmlns:p14="http://schemas.microsoft.com/office/powerpoint/2010/main" val="317979572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0"/>
          <a:lstStyle/>
          <a:p>
            <a:pPr rtl="0"/>
            <a:endParaRPr lang="en-GB"/>
          </a:p>
        </p:txBody>
      </p:sp>
      <p:sp>
        <p:nvSpPr>
          <p:cNvPr id="4" name="Slide Number Placeholder 3"/>
          <p:cNvSpPr>
            <a:spLocks noGrp="1"/>
          </p:cNvSpPr>
          <p:nvPr>
            <p:ph type="sldNum" sz="quarter" idx="10"/>
          </p:nvPr>
        </p:nvSpPr>
        <p:spPr/>
        <p:txBody>
          <a:bodyPr rtlCol="0"/>
          <a:lstStyle/>
          <a:p>
            <a:pPr rtl="0"/>
            <a:fld id="{6336304E-FDE3-4B4F-A3B7-EBE87F3FA5E2}" type="slidenum">
              <a:rPr lang="en-GB" smtClean="0"/>
              <a:t>16</a:t>
            </a:fld>
            <a:endParaRPr lang="en-GB"/>
          </a:p>
        </p:txBody>
      </p:sp>
    </p:spTree>
    <p:extLst>
      <p:ext uri="{BB962C8B-B14F-4D97-AF65-F5344CB8AC3E}">
        <p14:creationId xmlns:p14="http://schemas.microsoft.com/office/powerpoint/2010/main" val="2588220561"/>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png"/><Relationship Id="rId1" Type="http://schemas.openxmlformats.org/officeDocument/2006/relationships/slideMaster" Target="../slideMasters/slideMaster1.xml"/><Relationship Id="rId6" Type="http://schemas.openxmlformats.org/officeDocument/2006/relationships/image" Target="../media/image6.svg"/><Relationship Id="rId5" Type="http://schemas.openxmlformats.org/officeDocument/2006/relationships/image" Target="../media/image5.png"/><Relationship Id="rId4" Type="http://schemas.openxmlformats.org/officeDocument/2006/relationships/image" Target="../media/image4.svg"/></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2.jpg"/><Relationship Id="rId1" Type="http://schemas.openxmlformats.org/officeDocument/2006/relationships/slideMaster" Target="../slideMasters/slideMaster1.xml"/><Relationship Id="rId4" Type="http://schemas.openxmlformats.org/officeDocument/2006/relationships/image" Target="../media/image8.png"/></Relationships>
</file>

<file path=ppt/slideLayouts/_rels/slideLayout12.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tags" Target="../tags/tag1.xml"/><Relationship Id="rId5" Type="http://schemas.openxmlformats.org/officeDocument/2006/relationships/image" Target="../media/image10.emf"/><Relationship Id="rId4" Type="http://schemas.openxmlformats.org/officeDocument/2006/relationships/oleObject" Target="../embeddings/oleObject1.bin"/></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tags" Target="../tags/tag3.xml"/><Relationship Id="rId5" Type="http://schemas.openxmlformats.org/officeDocument/2006/relationships/image" Target="../media/image10.emf"/><Relationship Id="rId4" Type="http://schemas.openxmlformats.org/officeDocument/2006/relationships/oleObject" Target="../embeddings/oleObject2.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tags" Target="../tags/tag5.xml"/><Relationship Id="rId5" Type="http://schemas.openxmlformats.org/officeDocument/2006/relationships/image" Target="../media/image10.emf"/><Relationship Id="rId4" Type="http://schemas.openxmlformats.org/officeDocument/2006/relationships/oleObject" Target="../embeddings/oleObject1.bin"/></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tags" Target="../tags/tag7.xml"/><Relationship Id="rId5" Type="http://schemas.openxmlformats.org/officeDocument/2006/relationships/image" Target="../media/image10.emf"/><Relationship Id="rId4" Type="http://schemas.openxmlformats.org/officeDocument/2006/relationships/oleObject" Target="../embeddings/oleObject3.bin"/></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xml"/><Relationship Id="rId1" Type="http://schemas.openxmlformats.org/officeDocument/2006/relationships/tags" Target="../tags/tag9.xml"/><Relationship Id="rId5" Type="http://schemas.openxmlformats.org/officeDocument/2006/relationships/image" Target="../media/image10.emf"/><Relationship Id="rId4" Type="http://schemas.openxmlformats.org/officeDocument/2006/relationships/oleObject" Target="../embeddings/oleObject4.bin"/></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_0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456FD49-C258-4333-9422-358C976A341C}"/>
              </a:ext>
            </a:extLst>
          </p:cNvPr>
          <p:cNvSpPr>
            <a:spLocks noGrp="1"/>
          </p:cNvSpPr>
          <p:nvPr>
            <p:ph type="ctrTitle" hasCustomPrompt="1"/>
          </p:nvPr>
        </p:nvSpPr>
        <p:spPr>
          <a:xfrm>
            <a:off x="6343650" y="2173288"/>
            <a:ext cx="5143500" cy="2090808"/>
          </a:xfrm>
        </p:spPr>
        <p:txBody>
          <a:bodyPr rtlCol="0" anchor="b">
            <a:noAutofit/>
          </a:bodyPr>
          <a:lstStyle>
            <a:lvl1pPr algn="l">
              <a:defRPr sz="5400" b="1" cap="all" baseline="0">
                <a:solidFill>
                  <a:schemeClr val="accent1"/>
                </a:solidFill>
                <a:latin typeface="+mj-lt"/>
              </a:defRPr>
            </a:lvl1pPr>
          </a:lstStyle>
          <a:p>
            <a:pPr rtl="0"/>
            <a:r>
              <a:rPr lang="en-GB" noProof="0" dirty="0"/>
              <a:t>Title comes here</a:t>
            </a:r>
          </a:p>
        </p:txBody>
      </p:sp>
      <p:sp>
        <p:nvSpPr>
          <p:cNvPr id="3" name="Subtitle 2">
            <a:extLst>
              <a:ext uri="{FF2B5EF4-FFF2-40B4-BE49-F238E27FC236}">
                <a16:creationId xmlns:a16="http://schemas.microsoft.com/office/drawing/2014/main" id="{59758E15-A93D-4FB9-843D-1490E27A151B}"/>
              </a:ext>
            </a:extLst>
          </p:cNvPr>
          <p:cNvSpPr>
            <a:spLocks noGrp="1"/>
          </p:cNvSpPr>
          <p:nvPr>
            <p:ph type="subTitle" idx="1"/>
          </p:nvPr>
        </p:nvSpPr>
        <p:spPr>
          <a:xfrm>
            <a:off x="6343650" y="4279971"/>
            <a:ext cx="5143500" cy="503167"/>
          </a:xfrm>
        </p:spPr>
        <p:txBody>
          <a:bodyPr rtlCol="0">
            <a:noAutofit/>
          </a:bodyPr>
          <a:lstStyle>
            <a:lvl1pPr marL="0" indent="0" algn="l">
              <a:buNone/>
              <a:defRPr sz="1800" b="0" cap="all"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rtl="0"/>
            <a:r>
              <a:rPr lang="en-US" noProof="0" dirty="0"/>
              <a:t>Click to edit Master subtitle style</a:t>
            </a:r>
            <a:endParaRPr lang="en-GB" noProof="0" dirty="0"/>
          </a:p>
        </p:txBody>
      </p:sp>
      <p:sp>
        <p:nvSpPr>
          <p:cNvPr id="13" name="Picture Placeholder 12">
            <a:extLst>
              <a:ext uri="{FF2B5EF4-FFF2-40B4-BE49-F238E27FC236}">
                <a16:creationId xmlns:a16="http://schemas.microsoft.com/office/drawing/2014/main" id="{BCCC559D-0EC3-432C-B397-6897B366DF36}"/>
              </a:ext>
            </a:extLst>
          </p:cNvPr>
          <p:cNvSpPr>
            <a:spLocks noGrp="1"/>
          </p:cNvSpPr>
          <p:nvPr>
            <p:ph type="pic" sz="quarter" idx="10"/>
          </p:nvPr>
        </p:nvSpPr>
        <p:spPr>
          <a:xfrm>
            <a:off x="710812" y="728545"/>
            <a:ext cx="5305661" cy="5305661"/>
          </a:xfrm>
          <a:prstGeom prst="ellipse">
            <a:avLst/>
          </a:prstGeom>
          <a:solidFill>
            <a:schemeClr val="bg2"/>
          </a:solidFill>
        </p:spPr>
        <p:txBody>
          <a:bodyPr rtlCol="0" anchor="ctr"/>
          <a:lstStyle>
            <a:lvl1pPr marL="0" indent="0" algn="ctr">
              <a:buNone/>
              <a:defRPr/>
            </a:lvl1pPr>
          </a:lstStyle>
          <a:p>
            <a:pPr rtl="0"/>
            <a:r>
              <a:rPr lang="en-US" noProof="0" dirty="0"/>
              <a:t>Click icon to add picture</a:t>
            </a:r>
            <a:endParaRPr lang="en-GB" noProof="0" dirty="0"/>
          </a:p>
        </p:txBody>
      </p:sp>
      <p:grpSp>
        <p:nvGrpSpPr>
          <p:cNvPr id="14" name="Group 13">
            <a:extLst>
              <a:ext uri="{FF2B5EF4-FFF2-40B4-BE49-F238E27FC236}">
                <a16:creationId xmlns:a16="http://schemas.microsoft.com/office/drawing/2014/main" id="{0DC2055F-AE3F-46BE-B57E-A0F1A86D1C36}"/>
              </a:ext>
            </a:extLst>
          </p:cNvPr>
          <p:cNvGrpSpPr/>
          <p:nvPr userDrawn="1"/>
        </p:nvGrpSpPr>
        <p:grpSpPr>
          <a:xfrm>
            <a:off x="-1728305" y="-2049517"/>
            <a:ext cx="8917229" cy="10769768"/>
            <a:chOff x="11114088" y="2241550"/>
            <a:chExt cx="1905000" cy="2354263"/>
          </a:xfrm>
          <a:solidFill>
            <a:schemeClr val="bg2">
              <a:alpha val="91000"/>
            </a:schemeClr>
          </a:solidFill>
        </p:grpSpPr>
        <p:sp>
          <p:nvSpPr>
            <p:cNvPr id="15" name="Freeform 5">
              <a:extLst>
                <a:ext uri="{FF2B5EF4-FFF2-40B4-BE49-F238E27FC236}">
                  <a16:creationId xmlns:a16="http://schemas.microsoft.com/office/drawing/2014/main" id="{C98EF042-A3B8-406D-BC16-153A989F571A}"/>
                </a:ext>
              </a:extLst>
            </p:cNvPr>
            <p:cNvSpPr>
              <a:spLocks/>
            </p:cNvSpPr>
            <p:nvPr/>
          </p:nvSpPr>
          <p:spPr bwMode="auto">
            <a:xfrm>
              <a:off x="11114088" y="2241550"/>
              <a:ext cx="1905000" cy="2354263"/>
            </a:xfrm>
            <a:custGeom>
              <a:avLst/>
              <a:gdLst>
                <a:gd name="T0" fmla="*/ 0 w 447"/>
                <a:gd name="T1" fmla="*/ 264 h 553"/>
                <a:gd name="T2" fmla="*/ 141 w 447"/>
                <a:gd name="T3" fmla="*/ 48 h 553"/>
                <a:gd name="T4" fmla="*/ 414 w 447"/>
                <a:gd name="T5" fmla="*/ 67 h 553"/>
                <a:gd name="T6" fmla="*/ 438 w 447"/>
                <a:gd name="T7" fmla="*/ 98 h 553"/>
                <a:gd name="T8" fmla="*/ 391 w 447"/>
                <a:gd name="T9" fmla="*/ 111 h 553"/>
                <a:gd name="T10" fmla="*/ 94 w 447"/>
                <a:gd name="T11" fmla="*/ 149 h 553"/>
                <a:gd name="T12" fmla="*/ 107 w 447"/>
                <a:gd name="T13" fmla="*/ 424 h 553"/>
                <a:gd name="T14" fmla="*/ 383 w 447"/>
                <a:gd name="T15" fmla="*/ 453 h 553"/>
                <a:gd name="T16" fmla="*/ 393 w 447"/>
                <a:gd name="T17" fmla="*/ 446 h 553"/>
                <a:gd name="T18" fmla="*/ 433 w 447"/>
                <a:gd name="T19" fmla="*/ 449 h 553"/>
                <a:gd name="T20" fmla="*/ 421 w 447"/>
                <a:gd name="T21" fmla="*/ 485 h 553"/>
                <a:gd name="T22" fmla="*/ 194 w 447"/>
                <a:gd name="T23" fmla="*/ 531 h 553"/>
                <a:gd name="T24" fmla="*/ 0 w 447"/>
                <a:gd name="T25" fmla="*/ 264 h 5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7" h="553">
                  <a:moveTo>
                    <a:pt x="0" y="264"/>
                  </a:moveTo>
                  <a:cubicBezTo>
                    <a:pt x="5" y="176"/>
                    <a:pt x="49" y="96"/>
                    <a:pt x="141" y="48"/>
                  </a:cubicBezTo>
                  <a:cubicBezTo>
                    <a:pt x="235" y="0"/>
                    <a:pt x="327" y="9"/>
                    <a:pt x="414" y="67"/>
                  </a:cubicBezTo>
                  <a:cubicBezTo>
                    <a:pt x="425" y="75"/>
                    <a:pt x="439" y="82"/>
                    <a:pt x="438" y="98"/>
                  </a:cubicBezTo>
                  <a:cubicBezTo>
                    <a:pt x="437" y="120"/>
                    <a:pt x="413" y="127"/>
                    <a:pt x="391" y="111"/>
                  </a:cubicBezTo>
                  <a:cubicBezTo>
                    <a:pt x="294" y="40"/>
                    <a:pt x="166" y="56"/>
                    <a:pt x="94" y="149"/>
                  </a:cubicBezTo>
                  <a:cubicBezTo>
                    <a:pt x="30" y="231"/>
                    <a:pt x="36" y="349"/>
                    <a:pt x="107" y="424"/>
                  </a:cubicBezTo>
                  <a:cubicBezTo>
                    <a:pt x="180" y="502"/>
                    <a:pt x="296" y="514"/>
                    <a:pt x="383" y="453"/>
                  </a:cubicBezTo>
                  <a:cubicBezTo>
                    <a:pt x="386" y="451"/>
                    <a:pt x="390" y="449"/>
                    <a:pt x="393" y="446"/>
                  </a:cubicBezTo>
                  <a:cubicBezTo>
                    <a:pt x="407" y="433"/>
                    <a:pt x="420" y="433"/>
                    <a:pt x="433" y="449"/>
                  </a:cubicBezTo>
                  <a:cubicBezTo>
                    <a:pt x="447" y="467"/>
                    <a:pt x="433" y="477"/>
                    <a:pt x="421" y="485"/>
                  </a:cubicBezTo>
                  <a:cubicBezTo>
                    <a:pt x="353" y="537"/>
                    <a:pt x="277" y="553"/>
                    <a:pt x="194" y="531"/>
                  </a:cubicBezTo>
                  <a:cubicBezTo>
                    <a:pt x="79" y="501"/>
                    <a:pt x="1" y="397"/>
                    <a:pt x="0" y="26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en-GB" noProof="0" dirty="0"/>
            </a:p>
          </p:txBody>
        </p:sp>
        <p:sp>
          <p:nvSpPr>
            <p:cNvPr id="16" name="Freeform 6">
              <a:extLst>
                <a:ext uri="{FF2B5EF4-FFF2-40B4-BE49-F238E27FC236}">
                  <a16:creationId xmlns:a16="http://schemas.microsoft.com/office/drawing/2014/main" id="{68E5FAC9-A660-4D7A-AC84-0A7C8CC3BB65}"/>
                </a:ext>
              </a:extLst>
            </p:cNvPr>
            <p:cNvSpPr>
              <a:spLocks/>
            </p:cNvSpPr>
            <p:nvPr/>
          </p:nvSpPr>
          <p:spPr bwMode="auto">
            <a:xfrm>
              <a:off x="11412538" y="2590800"/>
              <a:ext cx="835025" cy="1673225"/>
            </a:xfrm>
            <a:custGeom>
              <a:avLst/>
              <a:gdLst>
                <a:gd name="T0" fmla="*/ 0 w 196"/>
                <a:gd name="T1" fmla="*/ 198 h 393"/>
                <a:gd name="T2" fmla="*/ 157 w 196"/>
                <a:gd name="T3" fmla="*/ 8 h 393"/>
                <a:gd name="T4" fmla="*/ 192 w 196"/>
                <a:gd name="T5" fmla="*/ 22 h 393"/>
                <a:gd name="T6" fmla="*/ 167 w 196"/>
                <a:gd name="T7" fmla="*/ 56 h 393"/>
                <a:gd name="T8" fmla="*/ 48 w 196"/>
                <a:gd name="T9" fmla="*/ 198 h 393"/>
                <a:gd name="T10" fmla="*/ 170 w 196"/>
                <a:gd name="T11" fmla="*/ 339 h 393"/>
                <a:gd name="T12" fmla="*/ 193 w 196"/>
                <a:gd name="T13" fmla="*/ 372 h 393"/>
                <a:gd name="T14" fmla="*/ 160 w 196"/>
                <a:gd name="T15" fmla="*/ 387 h 393"/>
                <a:gd name="T16" fmla="*/ 0 w 196"/>
                <a:gd name="T17" fmla="*/ 198 h 3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6" h="393">
                  <a:moveTo>
                    <a:pt x="0" y="198"/>
                  </a:moveTo>
                  <a:cubicBezTo>
                    <a:pt x="0" y="103"/>
                    <a:pt x="64" y="26"/>
                    <a:pt x="157" y="8"/>
                  </a:cubicBezTo>
                  <a:cubicBezTo>
                    <a:pt x="171" y="6"/>
                    <a:pt x="188" y="0"/>
                    <a:pt x="192" y="22"/>
                  </a:cubicBezTo>
                  <a:cubicBezTo>
                    <a:pt x="196" y="41"/>
                    <a:pt x="190" y="52"/>
                    <a:pt x="167" y="56"/>
                  </a:cubicBezTo>
                  <a:cubicBezTo>
                    <a:pt x="95" y="70"/>
                    <a:pt x="47" y="129"/>
                    <a:pt x="48" y="198"/>
                  </a:cubicBezTo>
                  <a:cubicBezTo>
                    <a:pt x="48" y="267"/>
                    <a:pt x="97" y="325"/>
                    <a:pt x="170" y="339"/>
                  </a:cubicBezTo>
                  <a:cubicBezTo>
                    <a:pt x="191" y="343"/>
                    <a:pt x="195" y="354"/>
                    <a:pt x="193" y="372"/>
                  </a:cubicBezTo>
                  <a:cubicBezTo>
                    <a:pt x="190" y="393"/>
                    <a:pt x="174" y="389"/>
                    <a:pt x="160" y="387"/>
                  </a:cubicBezTo>
                  <a:cubicBezTo>
                    <a:pt x="70" y="375"/>
                    <a:pt x="0" y="293"/>
                    <a:pt x="0" y="19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en-GB" noProof="0" dirty="0"/>
            </a:p>
          </p:txBody>
        </p:sp>
      </p:grpSp>
      <p:pic>
        <p:nvPicPr>
          <p:cNvPr id="9" name="Picture 8">
            <a:extLst>
              <a:ext uri="{FF2B5EF4-FFF2-40B4-BE49-F238E27FC236}">
                <a16:creationId xmlns:a16="http://schemas.microsoft.com/office/drawing/2014/main" id="{4FE28ACC-E44C-4381-B768-0310810E78D2}"/>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6372999" y="1312605"/>
            <a:ext cx="1745251" cy="673365"/>
          </a:xfrm>
          <a:prstGeom prst="rect">
            <a:avLst/>
          </a:prstGeom>
        </p:spPr>
      </p:pic>
      <p:cxnSp>
        <p:nvCxnSpPr>
          <p:cNvPr id="5" name="Straight Connector 4">
            <a:extLst>
              <a:ext uri="{FF2B5EF4-FFF2-40B4-BE49-F238E27FC236}">
                <a16:creationId xmlns:a16="http://schemas.microsoft.com/office/drawing/2014/main" id="{819AFA09-F4B1-493D-BCAD-FF30C20CD1AA}"/>
              </a:ext>
            </a:extLst>
          </p:cNvPr>
          <p:cNvCxnSpPr/>
          <p:nvPr userDrawn="1"/>
        </p:nvCxnSpPr>
        <p:spPr>
          <a:xfrm>
            <a:off x="6469778" y="4233582"/>
            <a:ext cx="2532336" cy="0"/>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8849627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hank You 01">
    <p:spTree>
      <p:nvGrpSpPr>
        <p:cNvPr id="1" name=""/>
        <p:cNvGrpSpPr/>
        <p:nvPr/>
      </p:nvGrpSpPr>
      <p:grpSpPr>
        <a:xfrm>
          <a:off x="0" y="0"/>
          <a:ext cx="0" cy="0"/>
          <a:chOff x="0" y="0"/>
          <a:chExt cx="0" cy="0"/>
        </a:xfrm>
      </p:grpSpPr>
      <p:sp>
        <p:nvSpPr>
          <p:cNvPr id="3" name="Subtitle 2">
            <a:extLst>
              <a:ext uri="{FF2B5EF4-FFF2-40B4-BE49-F238E27FC236}">
                <a16:creationId xmlns:a16="http://schemas.microsoft.com/office/drawing/2014/main" id="{59758E15-A93D-4FB9-843D-1490E27A151B}"/>
              </a:ext>
            </a:extLst>
          </p:cNvPr>
          <p:cNvSpPr>
            <a:spLocks noGrp="1"/>
          </p:cNvSpPr>
          <p:nvPr>
            <p:ph type="subTitle" idx="1" hasCustomPrompt="1"/>
          </p:nvPr>
        </p:nvSpPr>
        <p:spPr>
          <a:xfrm>
            <a:off x="7002130" y="4484691"/>
            <a:ext cx="4540440" cy="503167"/>
          </a:xfrm>
        </p:spPr>
        <p:txBody>
          <a:bodyPr rtlCol="0">
            <a:noAutofit/>
          </a:bodyPr>
          <a:lstStyle>
            <a:lvl1pPr marL="0" indent="0" algn="l">
              <a:buNone/>
              <a:defRPr sz="1600" b="0" cap="all"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rtl="0"/>
            <a:r>
              <a:rPr lang="en-GB" noProof="0" dirty="0"/>
              <a:t>email</a:t>
            </a:r>
          </a:p>
        </p:txBody>
      </p:sp>
      <p:sp>
        <p:nvSpPr>
          <p:cNvPr id="13" name="Picture Placeholder 12">
            <a:extLst>
              <a:ext uri="{FF2B5EF4-FFF2-40B4-BE49-F238E27FC236}">
                <a16:creationId xmlns:a16="http://schemas.microsoft.com/office/drawing/2014/main" id="{BCCC559D-0EC3-432C-B397-6897B366DF36}"/>
              </a:ext>
            </a:extLst>
          </p:cNvPr>
          <p:cNvSpPr>
            <a:spLocks noGrp="1"/>
          </p:cNvSpPr>
          <p:nvPr>
            <p:ph type="pic" sz="quarter" idx="10"/>
          </p:nvPr>
        </p:nvSpPr>
        <p:spPr>
          <a:xfrm>
            <a:off x="710812" y="728545"/>
            <a:ext cx="5305661" cy="5305661"/>
          </a:xfrm>
          <a:prstGeom prst="ellipse">
            <a:avLst/>
          </a:prstGeom>
          <a:solidFill>
            <a:schemeClr val="bg2"/>
          </a:solidFill>
        </p:spPr>
        <p:txBody>
          <a:bodyPr rtlCol="0" anchor="ctr"/>
          <a:lstStyle>
            <a:lvl1pPr marL="0" indent="0" algn="ctr">
              <a:buNone/>
              <a:defRPr/>
            </a:lvl1pPr>
          </a:lstStyle>
          <a:p>
            <a:pPr rtl="0"/>
            <a:r>
              <a:rPr lang="en-US" noProof="0"/>
              <a:t>Click icon to add picture</a:t>
            </a:r>
            <a:endParaRPr lang="en-GB" noProof="0" dirty="0"/>
          </a:p>
        </p:txBody>
      </p:sp>
      <p:grpSp>
        <p:nvGrpSpPr>
          <p:cNvPr id="14" name="Group 13">
            <a:extLst>
              <a:ext uri="{FF2B5EF4-FFF2-40B4-BE49-F238E27FC236}">
                <a16:creationId xmlns:a16="http://schemas.microsoft.com/office/drawing/2014/main" id="{0DC2055F-AE3F-46BE-B57E-A0F1A86D1C36}"/>
              </a:ext>
            </a:extLst>
          </p:cNvPr>
          <p:cNvGrpSpPr/>
          <p:nvPr userDrawn="1"/>
        </p:nvGrpSpPr>
        <p:grpSpPr>
          <a:xfrm>
            <a:off x="-1728305" y="-2049517"/>
            <a:ext cx="8917229" cy="10769768"/>
            <a:chOff x="11114088" y="2241550"/>
            <a:chExt cx="1905000" cy="2354263"/>
          </a:xfrm>
          <a:solidFill>
            <a:schemeClr val="bg2">
              <a:alpha val="91000"/>
            </a:schemeClr>
          </a:solidFill>
        </p:grpSpPr>
        <p:sp>
          <p:nvSpPr>
            <p:cNvPr id="15" name="Freeform 5">
              <a:extLst>
                <a:ext uri="{FF2B5EF4-FFF2-40B4-BE49-F238E27FC236}">
                  <a16:creationId xmlns:a16="http://schemas.microsoft.com/office/drawing/2014/main" id="{C98EF042-A3B8-406D-BC16-153A989F571A}"/>
                </a:ext>
              </a:extLst>
            </p:cNvPr>
            <p:cNvSpPr>
              <a:spLocks/>
            </p:cNvSpPr>
            <p:nvPr/>
          </p:nvSpPr>
          <p:spPr bwMode="auto">
            <a:xfrm>
              <a:off x="11114088" y="2241550"/>
              <a:ext cx="1905000" cy="2354263"/>
            </a:xfrm>
            <a:custGeom>
              <a:avLst/>
              <a:gdLst>
                <a:gd name="T0" fmla="*/ 0 w 447"/>
                <a:gd name="T1" fmla="*/ 264 h 553"/>
                <a:gd name="T2" fmla="*/ 141 w 447"/>
                <a:gd name="T3" fmla="*/ 48 h 553"/>
                <a:gd name="T4" fmla="*/ 414 w 447"/>
                <a:gd name="T5" fmla="*/ 67 h 553"/>
                <a:gd name="T6" fmla="*/ 438 w 447"/>
                <a:gd name="T7" fmla="*/ 98 h 553"/>
                <a:gd name="T8" fmla="*/ 391 w 447"/>
                <a:gd name="T9" fmla="*/ 111 h 553"/>
                <a:gd name="T10" fmla="*/ 94 w 447"/>
                <a:gd name="T11" fmla="*/ 149 h 553"/>
                <a:gd name="T12" fmla="*/ 107 w 447"/>
                <a:gd name="T13" fmla="*/ 424 h 553"/>
                <a:gd name="T14" fmla="*/ 383 w 447"/>
                <a:gd name="T15" fmla="*/ 453 h 553"/>
                <a:gd name="T16" fmla="*/ 393 w 447"/>
                <a:gd name="T17" fmla="*/ 446 h 553"/>
                <a:gd name="T18" fmla="*/ 433 w 447"/>
                <a:gd name="T19" fmla="*/ 449 h 553"/>
                <a:gd name="T20" fmla="*/ 421 w 447"/>
                <a:gd name="T21" fmla="*/ 485 h 553"/>
                <a:gd name="T22" fmla="*/ 194 w 447"/>
                <a:gd name="T23" fmla="*/ 531 h 553"/>
                <a:gd name="T24" fmla="*/ 0 w 447"/>
                <a:gd name="T25" fmla="*/ 264 h 5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7" h="553">
                  <a:moveTo>
                    <a:pt x="0" y="264"/>
                  </a:moveTo>
                  <a:cubicBezTo>
                    <a:pt x="5" y="176"/>
                    <a:pt x="49" y="96"/>
                    <a:pt x="141" y="48"/>
                  </a:cubicBezTo>
                  <a:cubicBezTo>
                    <a:pt x="235" y="0"/>
                    <a:pt x="327" y="9"/>
                    <a:pt x="414" y="67"/>
                  </a:cubicBezTo>
                  <a:cubicBezTo>
                    <a:pt x="425" y="75"/>
                    <a:pt x="439" y="82"/>
                    <a:pt x="438" y="98"/>
                  </a:cubicBezTo>
                  <a:cubicBezTo>
                    <a:pt x="437" y="120"/>
                    <a:pt x="413" y="127"/>
                    <a:pt x="391" y="111"/>
                  </a:cubicBezTo>
                  <a:cubicBezTo>
                    <a:pt x="294" y="40"/>
                    <a:pt x="166" y="56"/>
                    <a:pt x="94" y="149"/>
                  </a:cubicBezTo>
                  <a:cubicBezTo>
                    <a:pt x="30" y="231"/>
                    <a:pt x="36" y="349"/>
                    <a:pt x="107" y="424"/>
                  </a:cubicBezTo>
                  <a:cubicBezTo>
                    <a:pt x="180" y="502"/>
                    <a:pt x="296" y="514"/>
                    <a:pt x="383" y="453"/>
                  </a:cubicBezTo>
                  <a:cubicBezTo>
                    <a:pt x="386" y="451"/>
                    <a:pt x="390" y="449"/>
                    <a:pt x="393" y="446"/>
                  </a:cubicBezTo>
                  <a:cubicBezTo>
                    <a:pt x="407" y="433"/>
                    <a:pt x="420" y="433"/>
                    <a:pt x="433" y="449"/>
                  </a:cubicBezTo>
                  <a:cubicBezTo>
                    <a:pt x="447" y="467"/>
                    <a:pt x="433" y="477"/>
                    <a:pt x="421" y="485"/>
                  </a:cubicBezTo>
                  <a:cubicBezTo>
                    <a:pt x="353" y="537"/>
                    <a:pt x="277" y="553"/>
                    <a:pt x="194" y="531"/>
                  </a:cubicBezTo>
                  <a:cubicBezTo>
                    <a:pt x="79" y="501"/>
                    <a:pt x="1" y="397"/>
                    <a:pt x="0" y="26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en-GB" noProof="0" dirty="0"/>
            </a:p>
          </p:txBody>
        </p:sp>
        <p:sp>
          <p:nvSpPr>
            <p:cNvPr id="16" name="Freeform 6">
              <a:extLst>
                <a:ext uri="{FF2B5EF4-FFF2-40B4-BE49-F238E27FC236}">
                  <a16:creationId xmlns:a16="http://schemas.microsoft.com/office/drawing/2014/main" id="{68E5FAC9-A660-4D7A-AC84-0A7C8CC3BB65}"/>
                </a:ext>
              </a:extLst>
            </p:cNvPr>
            <p:cNvSpPr>
              <a:spLocks/>
            </p:cNvSpPr>
            <p:nvPr/>
          </p:nvSpPr>
          <p:spPr bwMode="auto">
            <a:xfrm>
              <a:off x="11412538" y="2590800"/>
              <a:ext cx="835025" cy="1673225"/>
            </a:xfrm>
            <a:custGeom>
              <a:avLst/>
              <a:gdLst>
                <a:gd name="T0" fmla="*/ 0 w 196"/>
                <a:gd name="T1" fmla="*/ 198 h 393"/>
                <a:gd name="T2" fmla="*/ 157 w 196"/>
                <a:gd name="T3" fmla="*/ 8 h 393"/>
                <a:gd name="T4" fmla="*/ 192 w 196"/>
                <a:gd name="T5" fmla="*/ 22 h 393"/>
                <a:gd name="T6" fmla="*/ 167 w 196"/>
                <a:gd name="T7" fmla="*/ 56 h 393"/>
                <a:gd name="T8" fmla="*/ 48 w 196"/>
                <a:gd name="T9" fmla="*/ 198 h 393"/>
                <a:gd name="T10" fmla="*/ 170 w 196"/>
                <a:gd name="T11" fmla="*/ 339 h 393"/>
                <a:gd name="T12" fmla="*/ 193 w 196"/>
                <a:gd name="T13" fmla="*/ 372 h 393"/>
                <a:gd name="T14" fmla="*/ 160 w 196"/>
                <a:gd name="T15" fmla="*/ 387 h 393"/>
                <a:gd name="T16" fmla="*/ 0 w 196"/>
                <a:gd name="T17" fmla="*/ 198 h 3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6" h="393">
                  <a:moveTo>
                    <a:pt x="0" y="198"/>
                  </a:moveTo>
                  <a:cubicBezTo>
                    <a:pt x="0" y="103"/>
                    <a:pt x="64" y="26"/>
                    <a:pt x="157" y="8"/>
                  </a:cubicBezTo>
                  <a:cubicBezTo>
                    <a:pt x="171" y="6"/>
                    <a:pt x="188" y="0"/>
                    <a:pt x="192" y="22"/>
                  </a:cubicBezTo>
                  <a:cubicBezTo>
                    <a:pt x="196" y="41"/>
                    <a:pt x="190" y="52"/>
                    <a:pt x="167" y="56"/>
                  </a:cubicBezTo>
                  <a:cubicBezTo>
                    <a:pt x="95" y="70"/>
                    <a:pt x="47" y="129"/>
                    <a:pt x="48" y="198"/>
                  </a:cubicBezTo>
                  <a:cubicBezTo>
                    <a:pt x="48" y="267"/>
                    <a:pt x="97" y="325"/>
                    <a:pt x="170" y="339"/>
                  </a:cubicBezTo>
                  <a:cubicBezTo>
                    <a:pt x="191" y="343"/>
                    <a:pt x="195" y="354"/>
                    <a:pt x="193" y="372"/>
                  </a:cubicBezTo>
                  <a:cubicBezTo>
                    <a:pt x="190" y="393"/>
                    <a:pt x="174" y="389"/>
                    <a:pt x="160" y="387"/>
                  </a:cubicBezTo>
                  <a:cubicBezTo>
                    <a:pt x="70" y="375"/>
                    <a:pt x="0" y="293"/>
                    <a:pt x="0" y="19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en-GB" noProof="0" dirty="0"/>
            </a:p>
          </p:txBody>
        </p:sp>
      </p:grpSp>
      <p:pic>
        <p:nvPicPr>
          <p:cNvPr id="9" name="Picture 8">
            <a:extLst>
              <a:ext uri="{FF2B5EF4-FFF2-40B4-BE49-F238E27FC236}">
                <a16:creationId xmlns:a16="http://schemas.microsoft.com/office/drawing/2014/main" id="{4FE28ACC-E44C-4381-B768-0310810E78D2}"/>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6372999" y="1844881"/>
            <a:ext cx="1745251" cy="673365"/>
          </a:xfrm>
          <a:prstGeom prst="rect">
            <a:avLst/>
          </a:prstGeom>
        </p:spPr>
      </p:pic>
      <p:cxnSp>
        <p:nvCxnSpPr>
          <p:cNvPr id="5" name="Straight Connector 4">
            <a:extLst>
              <a:ext uri="{FF2B5EF4-FFF2-40B4-BE49-F238E27FC236}">
                <a16:creationId xmlns:a16="http://schemas.microsoft.com/office/drawing/2014/main" id="{819AFA09-F4B1-493D-BCAD-FF30C20CD1AA}"/>
              </a:ext>
            </a:extLst>
          </p:cNvPr>
          <p:cNvCxnSpPr/>
          <p:nvPr userDrawn="1"/>
        </p:nvCxnSpPr>
        <p:spPr>
          <a:xfrm>
            <a:off x="6469778" y="4233582"/>
            <a:ext cx="2532336" cy="0"/>
          </a:xfrm>
          <a:prstGeom prst="line">
            <a:avLst/>
          </a:prstGeom>
        </p:spPr>
        <p:style>
          <a:lnRef idx="1">
            <a:schemeClr val="accent1"/>
          </a:lnRef>
          <a:fillRef idx="0">
            <a:schemeClr val="accent1"/>
          </a:fillRef>
          <a:effectRef idx="0">
            <a:schemeClr val="accent1"/>
          </a:effectRef>
          <a:fontRef idx="minor">
            <a:schemeClr val="tx1"/>
          </a:fontRef>
        </p:style>
      </p:cxnSp>
      <p:sp>
        <p:nvSpPr>
          <p:cNvPr id="7" name="Text Placeholder 6">
            <a:extLst>
              <a:ext uri="{FF2B5EF4-FFF2-40B4-BE49-F238E27FC236}">
                <a16:creationId xmlns:a16="http://schemas.microsoft.com/office/drawing/2014/main" id="{4E0FBE0E-A6B0-483E-93DD-5C20DA069DBC}"/>
              </a:ext>
            </a:extLst>
          </p:cNvPr>
          <p:cNvSpPr>
            <a:spLocks noGrp="1"/>
          </p:cNvSpPr>
          <p:nvPr>
            <p:ph type="body" sz="quarter" idx="11" hasCustomPrompt="1"/>
          </p:nvPr>
        </p:nvSpPr>
        <p:spPr>
          <a:xfrm>
            <a:off x="7002320" y="5012635"/>
            <a:ext cx="4533900" cy="503238"/>
          </a:xfrm>
        </p:spPr>
        <p:txBody>
          <a:bodyPr vert="horz" lIns="91440" tIns="45720" rIns="91440" bIns="45720" rtlCol="0">
            <a:noAutofit/>
          </a:bodyPr>
          <a:lstStyle>
            <a:lvl1pPr marL="0" indent="0">
              <a:buNone/>
              <a:defRPr lang="en-US" sz="1600" b="0" cap="all" baseline="0" dirty="0" smtClean="0"/>
            </a:lvl1pPr>
          </a:lstStyle>
          <a:p>
            <a:pPr marL="228600" lvl="0" indent="-228600" rtl="0"/>
            <a:r>
              <a:rPr lang="en-GB" noProof="0" dirty="0"/>
              <a:t>Website URL here</a:t>
            </a:r>
          </a:p>
        </p:txBody>
      </p:sp>
      <p:pic>
        <p:nvPicPr>
          <p:cNvPr id="17" name="Graphic 16" descr="Envelope">
            <a:extLst>
              <a:ext uri="{FF2B5EF4-FFF2-40B4-BE49-F238E27FC236}">
                <a16:creationId xmlns:a16="http://schemas.microsoft.com/office/drawing/2014/main" id="{E5B30B87-6C2E-48F1-9026-E4F6BEA1CFE7}"/>
              </a:ext>
            </a:extLst>
          </p:cNvPr>
          <p:cNvPicPr>
            <a:picLocks noChangeAspect="1"/>
          </p:cNvPicPr>
          <p:nvPr userDrawn="1"/>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6541475" y="4452337"/>
            <a:ext cx="387795" cy="387795"/>
          </a:xfrm>
          <a:prstGeom prst="rect">
            <a:avLst/>
          </a:prstGeom>
        </p:spPr>
      </p:pic>
      <p:pic>
        <p:nvPicPr>
          <p:cNvPr id="18" name="Graphic 17" descr="Network">
            <a:extLst>
              <a:ext uri="{FF2B5EF4-FFF2-40B4-BE49-F238E27FC236}">
                <a16:creationId xmlns:a16="http://schemas.microsoft.com/office/drawing/2014/main" id="{2DA3CFE0-4ED8-4345-A158-94E70F463E99}"/>
              </a:ext>
            </a:extLst>
          </p:cNvPr>
          <p:cNvPicPr>
            <a:picLocks noChangeAspect="1"/>
          </p:cNvPicPr>
          <p:nvPr userDrawn="1"/>
        </p:nvPicPr>
        <p:blipFill>
          <a:blip r:embed="rId5">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6522084" y="4925640"/>
            <a:ext cx="426575" cy="426575"/>
          </a:xfrm>
          <a:prstGeom prst="rect">
            <a:avLst/>
          </a:prstGeom>
        </p:spPr>
      </p:pic>
      <p:sp>
        <p:nvSpPr>
          <p:cNvPr id="2" name="Title 1">
            <a:extLst>
              <a:ext uri="{FF2B5EF4-FFF2-40B4-BE49-F238E27FC236}">
                <a16:creationId xmlns:a16="http://schemas.microsoft.com/office/drawing/2014/main" id="{2CE9908F-CF81-43F9-880A-401D0C0FB2ED}"/>
              </a:ext>
            </a:extLst>
          </p:cNvPr>
          <p:cNvSpPr>
            <a:spLocks noGrp="1"/>
          </p:cNvSpPr>
          <p:nvPr>
            <p:ph type="title"/>
          </p:nvPr>
        </p:nvSpPr>
        <p:spPr>
          <a:xfrm>
            <a:off x="6469778" y="3429000"/>
            <a:ext cx="5011410" cy="651448"/>
          </a:xfrm>
          <a:noFill/>
        </p:spPr>
        <p:txBody>
          <a:bodyPr wrap="square" rtlCol="0">
            <a:noAutofit/>
          </a:bodyPr>
          <a:lstStyle>
            <a:lvl1pPr>
              <a:defRPr lang="en-US" sz="6000" b="1" cap="all" baseline="0">
                <a:solidFill>
                  <a:schemeClr val="accent1"/>
                </a:solidFill>
                <a:ea typeface="+mn-ea"/>
                <a:cs typeface="+mn-cs"/>
              </a:defRPr>
            </a:lvl1pPr>
          </a:lstStyle>
          <a:p>
            <a:pPr marL="0" lvl="0" rtl="0"/>
            <a:r>
              <a:rPr lang="en-US" noProof="0"/>
              <a:t>Click to edit Master title style</a:t>
            </a:r>
            <a:endParaRPr lang="en-GB" noProof="0" dirty="0"/>
          </a:p>
        </p:txBody>
      </p:sp>
    </p:spTree>
    <p:extLst>
      <p:ext uri="{BB962C8B-B14F-4D97-AF65-F5344CB8AC3E}">
        <p14:creationId xmlns:p14="http://schemas.microsoft.com/office/powerpoint/2010/main" val="63713688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_Title Slide_02">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6299464-ED20-4919-8B3A-2CFAE8DA2347}"/>
              </a:ext>
            </a:extLst>
          </p:cNvPr>
          <p:cNvSpPr/>
          <p:nvPr userDrawn="1"/>
        </p:nvSpPr>
        <p:spPr>
          <a:xfrm>
            <a:off x="0" y="0"/>
            <a:ext cx="12192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noProof="0" dirty="0"/>
          </a:p>
        </p:txBody>
      </p:sp>
      <p:sp>
        <p:nvSpPr>
          <p:cNvPr id="13" name="Picture Placeholder 12">
            <a:extLst>
              <a:ext uri="{FF2B5EF4-FFF2-40B4-BE49-F238E27FC236}">
                <a16:creationId xmlns:a16="http://schemas.microsoft.com/office/drawing/2014/main" id="{BCCC559D-0EC3-432C-B397-6897B366DF36}"/>
              </a:ext>
            </a:extLst>
          </p:cNvPr>
          <p:cNvSpPr>
            <a:spLocks noGrp="1"/>
          </p:cNvSpPr>
          <p:nvPr>
            <p:ph type="pic" sz="quarter" idx="10"/>
          </p:nvPr>
        </p:nvSpPr>
        <p:spPr>
          <a:xfrm>
            <a:off x="710812" y="728545"/>
            <a:ext cx="5305661" cy="5305661"/>
          </a:xfrm>
          <a:prstGeom prst="ellipse">
            <a:avLst/>
          </a:prstGeom>
          <a:solidFill>
            <a:schemeClr val="bg2"/>
          </a:solidFill>
        </p:spPr>
        <p:txBody>
          <a:bodyPr rtlCol="0" anchor="ctr"/>
          <a:lstStyle>
            <a:lvl1pPr marL="0" indent="0" algn="ctr">
              <a:buNone/>
              <a:defRPr/>
            </a:lvl1pPr>
          </a:lstStyle>
          <a:p>
            <a:pPr rtl="0"/>
            <a:r>
              <a:rPr lang="en-US" noProof="0"/>
              <a:t>Click icon to add picture</a:t>
            </a:r>
            <a:endParaRPr lang="en-GB" noProof="0" dirty="0"/>
          </a:p>
        </p:txBody>
      </p:sp>
      <p:grpSp>
        <p:nvGrpSpPr>
          <p:cNvPr id="14" name="Group 13">
            <a:extLst>
              <a:ext uri="{FF2B5EF4-FFF2-40B4-BE49-F238E27FC236}">
                <a16:creationId xmlns:a16="http://schemas.microsoft.com/office/drawing/2014/main" id="{0DC2055F-AE3F-46BE-B57E-A0F1A86D1C36}"/>
              </a:ext>
            </a:extLst>
          </p:cNvPr>
          <p:cNvGrpSpPr/>
          <p:nvPr userDrawn="1"/>
        </p:nvGrpSpPr>
        <p:grpSpPr>
          <a:xfrm>
            <a:off x="-1728305" y="-2049517"/>
            <a:ext cx="8917229" cy="10769768"/>
            <a:chOff x="11114088" y="2241550"/>
            <a:chExt cx="1905000" cy="2354263"/>
          </a:xfrm>
          <a:solidFill>
            <a:schemeClr val="bg1">
              <a:alpha val="16000"/>
            </a:schemeClr>
          </a:solidFill>
        </p:grpSpPr>
        <p:sp>
          <p:nvSpPr>
            <p:cNvPr id="15" name="Freeform 5">
              <a:extLst>
                <a:ext uri="{FF2B5EF4-FFF2-40B4-BE49-F238E27FC236}">
                  <a16:creationId xmlns:a16="http://schemas.microsoft.com/office/drawing/2014/main" id="{C98EF042-A3B8-406D-BC16-153A989F571A}"/>
                </a:ext>
              </a:extLst>
            </p:cNvPr>
            <p:cNvSpPr>
              <a:spLocks/>
            </p:cNvSpPr>
            <p:nvPr/>
          </p:nvSpPr>
          <p:spPr bwMode="auto">
            <a:xfrm>
              <a:off x="11114088" y="2241550"/>
              <a:ext cx="1905000" cy="2354263"/>
            </a:xfrm>
            <a:custGeom>
              <a:avLst/>
              <a:gdLst>
                <a:gd name="T0" fmla="*/ 0 w 447"/>
                <a:gd name="T1" fmla="*/ 264 h 553"/>
                <a:gd name="T2" fmla="*/ 141 w 447"/>
                <a:gd name="T3" fmla="*/ 48 h 553"/>
                <a:gd name="T4" fmla="*/ 414 w 447"/>
                <a:gd name="T5" fmla="*/ 67 h 553"/>
                <a:gd name="T6" fmla="*/ 438 w 447"/>
                <a:gd name="T7" fmla="*/ 98 h 553"/>
                <a:gd name="T8" fmla="*/ 391 w 447"/>
                <a:gd name="T9" fmla="*/ 111 h 553"/>
                <a:gd name="T10" fmla="*/ 94 w 447"/>
                <a:gd name="T11" fmla="*/ 149 h 553"/>
                <a:gd name="T12" fmla="*/ 107 w 447"/>
                <a:gd name="T13" fmla="*/ 424 h 553"/>
                <a:gd name="T14" fmla="*/ 383 w 447"/>
                <a:gd name="T15" fmla="*/ 453 h 553"/>
                <a:gd name="T16" fmla="*/ 393 w 447"/>
                <a:gd name="T17" fmla="*/ 446 h 553"/>
                <a:gd name="T18" fmla="*/ 433 w 447"/>
                <a:gd name="T19" fmla="*/ 449 h 553"/>
                <a:gd name="T20" fmla="*/ 421 w 447"/>
                <a:gd name="T21" fmla="*/ 485 h 553"/>
                <a:gd name="T22" fmla="*/ 194 w 447"/>
                <a:gd name="T23" fmla="*/ 531 h 553"/>
                <a:gd name="T24" fmla="*/ 0 w 447"/>
                <a:gd name="T25" fmla="*/ 264 h 5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7" h="553">
                  <a:moveTo>
                    <a:pt x="0" y="264"/>
                  </a:moveTo>
                  <a:cubicBezTo>
                    <a:pt x="5" y="176"/>
                    <a:pt x="49" y="96"/>
                    <a:pt x="141" y="48"/>
                  </a:cubicBezTo>
                  <a:cubicBezTo>
                    <a:pt x="235" y="0"/>
                    <a:pt x="327" y="9"/>
                    <a:pt x="414" y="67"/>
                  </a:cubicBezTo>
                  <a:cubicBezTo>
                    <a:pt x="425" y="75"/>
                    <a:pt x="439" y="82"/>
                    <a:pt x="438" y="98"/>
                  </a:cubicBezTo>
                  <a:cubicBezTo>
                    <a:pt x="437" y="120"/>
                    <a:pt x="413" y="127"/>
                    <a:pt x="391" y="111"/>
                  </a:cubicBezTo>
                  <a:cubicBezTo>
                    <a:pt x="294" y="40"/>
                    <a:pt x="166" y="56"/>
                    <a:pt x="94" y="149"/>
                  </a:cubicBezTo>
                  <a:cubicBezTo>
                    <a:pt x="30" y="231"/>
                    <a:pt x="36" y="349"/>
                    <a:pt x="107" y="424"/>
                  </a:cubicBezTo>
                  <a:cubicBezTo>
                    <a:pt x="180" y="502"/>
                    <a:pt x="296" y="514"/>
                    <a:pt x="383" y="453"/>
                  </a:cubicBezTo>
                  <a:cubicBezTo>
                    <a:pt x="386" y="451"/>
                    <a:pt x="390" y="449"/>
                    <a:pt x="393" y="446"/>
                  </a:cubicBezTo>
                  <a:cubicBezTo>
                    <a:pt x="407" y="433"/>
                    <a:pt x="420" y="433"/>
                    <a:pt x="433" y="449"/>
                  </a:cubicBezTo>
                  <a:cubicBezTo>
                    <a:pt x="447" y="467"/>
                    <a:pt x="433" y="477"/>
                    <a:pt x="421" y="485"/>
                  </a:cubicBezTo>
                  <a:cubicBezTo>
                    <a:pt x="353" y="537"/>
                    <a:pt x="277" y="553"/>
                    <a:pt x="194" y="531"/>
                  </a:cubicBezTo>
                  <a:cubicBezTo>
                    <a:pt x="79" y="501"/>
                    <a:pt x="1" y="397"/>
                    <a:pt x="0" y="26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en-GB" noProof="0" dirty="0"/>
            </a:p>
          </p:txBody>
        </p:sp>
        <p:sp>
          <p:nvSpPr>
            <p:cNvPr id="16" name="Freeform 6">
              <a:extLst>
                <a:ext uri="{FF2B5EF4-FFF2-40B4-BE49-F238E27FC236}">
                  <a16:creationId xmlns:a16="http://schemas.microsoft.com/office/drawing/2014/main" id="{68E5FAC9-A660-4D7A-AC84-0A7C8CC3BB65}"/>
                </a:ext>
              </a:extLst>
            </p:cNvPr>
            <p:cNvSpPr>
              <a:spLocks/>
            </p:cNvSpPr>
            <p:nvPr/>
          </p:nvSpPr>
          <p:spPr bwMode="auto">
            <a:xfrm>
              <a:off x="11412538" y="2590800"/>
              <a:ext cx="835025" cy="1673225"/>
            </a:xfrm>
            <a:custGeom>
              <a:avLst/>
              <a:gdLst>
                <a:gd name="T0" fmla="*/ 0 w 196"/>
                <a:gd name="T1" fmla="*/ 198 h 393"/>
                <a:gd name="T2" fmla="*/ 157 w 196"/>
                <a:gd name="T3" fmla="*/ 8 h 393"/>
                <a:gd name="T4" fmla="*/ 192 w 196"/>
                <a:gd name="T5" fmla="*/ 22 h 393"/>
                <a:gd name="T6" fmla="*/ 167 w 196"/>
                <a:gd name="T7" fmla="*/ 56 h 393"/>
                <a:gd name="T8" fmla="*/ 48 w 196"/>
                <a:gd name="T9" fmla="*/ 198 h 393"/>
                <a:gd name="T10" fmla="*/ 170 w 196"/>
                <a:gd name="T11" fmla="*/ 339 h 393"/>
                <a:gd name="T12" fmla="*/ 193 w 196"/>
                <a:gd name="T13" fmla="*/ 372 h 393"/>
                <a:gd name="T14" fmla="*/ 160 w 196"/>
                <a:gd name="T15" fmla="*/ 387 h 393"/>
                <a:gd name="T16" fmla="*/ 0 w 196"/>
                <a:gd name="T17" fmla="*/ 198 h 3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6" h="393">
                  <a:moveTo>
                    <a:pt x="0" y="198"/>
                  </a:moveTo>
                  <a:cubicBezTo>
                    <a:pt x="0" y="103"/>
                    <a:pt x="64" y="26"/>
                    <a:pt x="157" y="8"/>
                  </a:cubicBezTo>
                  <a:cubicBezTo>
                    <a:pt x="171" y="6"/>
                    <a:pt x="188" y="0"/>
                    <a:pt x="192" y="22"/>
                  </a:cubicBezTo>
                  <a:cubicBezTo>
                    <a:pt x="196" y="41"/>
                    <a:pt x="190" y="52"/>
                    <a:pt x="167" y="56"/>
                  </a:cubicBezTo>
                  <a:cubicBezTo>
                    <a:pt x="95" y="70"/>
                    <a:pt x="47" y="129"/>
                    <a:pt x="48" y="198"/>
                  </a:cubicBezTo>
                  <a:cubicBezTo>
                    <a:pt x="48" y="267"/>
                    <a:pt x="97" y="325"/>
                    <a:pt x="170" y="339"/>
                  </a:cubicBezTo>
                  <a:cubicBezTo>
                    <a:pt x="191" y="343"/>
                    <a:pt x="195" y="354"/>
                    <a:pt x="193" y="372"/>
                  </a:cubicBezTo>
                  <a:cubicBezTo>
                    <a:pt x="190" y="393"/>
                    <a:pt x="174" y="389"/>
                    <a:pt x="160" y="387"/>
                  </a:cubicBezTo>
                  <a:cubicBezTo>
                    <a:pt x="70" y="375"/>
                    <a:pt x="0" y="293"/>
                    <a:pt x="0" y="19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en-GB" noProof="0" dirty="0"/>
            </a:p>
          </p:txBody>
        </p:sp>
      </p:grpSp>
      <p:pic>
        <p:nvPicPr>
          <p:cNvPr id="9" name="Picture 8">
            <a:extLst>
              <a:ext uri="{FF2B5EF4-FFF2-40B4-BE49-F238E27FC236}">
                <a16:creationId xmlns:a16="http://schemas.microsoft.com/office/drawing/2014/main" id="{4FE28ACC-E44C-4381-B768-0310810E78D2}"/>
              </a:ext>
            </a:extLst>
          </p:cNvPr>
          <p:cNvPicPr>
            <a:picLocks noChangeAspect="1"/>
          </p:cNvPicPr>
          <p:nvPr userDrawn="1"/>
        </p:nvPicPr>
        <p:blipFill>
          <a:blip r:embed="rId2"/>
          <a:srcRect/>
          <a:stretch/>
        </p:blipFill>
        <p:spPr>
          <a:xfrm>
            <a:off x="11044718" y="6419"/>
            <a:ext cx="1147281" cy="1088045"/>
          </a:xfrm>
          <a:prstGeom prst="rect">
            <a:avLst/>
          </a:prstGeom>
        </p:spPr>
      </p:pic>
      <p:cxnSp>
        <p:nvCxnSpPr>
          <p:cNvPr id="12" name="Straight Connector 11">
            <a:extLst>
              <a:ext uri="{FF2B5EF4-FFF2-40B4-BE49-F238E27FC236}">
                <a16:creationId xmlns:a16="http://schemas.microsoft.com/office/drawing/2014/main" id="{77C312F4-62C2-4903-8C4B-423A8717E481}"/>
              </a:ext>
            </a:extLst>
          </p:cNvPr>
          <p:cNvCxnSpPr/>
          <p:nvPr userDrawn="1"/>
        </p:nvCxnSpPr>
        <p:spPr>
          <a:xfrm>
            <a:off x="6469778" y="4233582"/>
            <a:ext cx="2532336"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pic>
        <p:nvPicPr>
          <p:cNvPr id="19" name="Graphic 18" descr="Envelope">
            <a:extLst>
              <a:ext uri="{FF2B5EF4-FFF2-40B4-BE49-F238E27FC236}">
                <a16:creationId xmlns:a16="http://schemas.microsoft.com/office/drawing/2014/main" id="{A686352B-226C-4579-B831-0DC14EC3895E}"/>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6541475" y="4452337"/>
            <a:ext cx="387795" cy="387795"/>
          </a:xfrm>
          <a:prstGeom prst="rect">
            <a:avLst/>
          </a:prstGeom>
        </p:spPr>
      </p:pic>
      <p:pic>
        <p:nvPicPr>
          <p:cNvPr id="20" name="Graphic 19">
            <a:extLst>
              <a:ext uri="{FF2B5EF4-FFF2-40B4-BE49-F238E27FC236}">
                <a16:creationId xmlns:a16="http://schemas.microsoft.com/office/drawing/2014/main" id="{460C8169-012B-451A-A6C2-6FEC0DC82AFC}"/>
              </a:ext>
            </a:extLst>
          </p:cNvPr>
          <p:cNvPicPr>
            <a:picLocks noChangeAspect="1"/>
          </p:cNvPicPr>
          <p:nvPr userDrawn="1"/>
        </p:nvPicPr>
        <p:blipFill>
          <a:blip r:embed="rId4"/>
          <a:srcRect/>
          <a:stretch/>
        </p:blipFill>
        <p:spPr>
          <a:xfrm>
            <a:off x="6541475" y="4993459"/>
            <a:ext cx="387796" cy="387796"/>
          </a:xfrm>
          <a:prstGeom prst="rect">
            <a:avLst/>
          </a:prstGeom>
        </p:spPr>
      </p:pic>
      <p:sp>
        <p:nvSpPr>
          <p:cNvPr id="21" name="Subtitle 2">
            <a:extLst>
              <a:ext uri="{FF2B5EF4-FFF2-40B4-BE49-F238E27FC236}">
                <a16:creationId xmlns:a16="http://schemas.microsoft.com/office/drawing/2014/main" id="{ADF17BC1-06CE-42EA-A970-31A7ED871AA4}"/>
              </a:ext>
            </a:extLst>
          </p:cNvPr>
          <p:cNvSpPr>
            <a:spLocks noGrp="1"/>
          </p:cNvSpPr>
          <p:nvPr>
            <p:ph type="subTitle" idx="1" hasCustomPrompt="1"/>
          </p:nvPr>
        </p:nvSpPr>
        <p:spPr>
          <a:xfrm>
            <a:off x="7002130" y="4484691"/>
            <a:ext cx="4540440" cy="503167"/>
          </a:xfrm>
        </p:spPr>
        <p:txBody>
          <a:bodyPr rtlCol="0">
            <a:noAutofit/>
          </a:bodyPr>
          <a:lstStyle>
            <a:lvl1pPr marL="0" indent="0" algn="l">
              <a:buNone/>
              <a:defRPr sz="1600" b="0" cap="all" baseline="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rtl="0"/>
            <a:r>
              <a:rPr lang="en-GB" noProof="0" dirty="0"/>
              <a:t>email</a:t>
            </a:r>
          </a:p>
        </p:txBody>
      </p:sp>
      <p:sp>
        <p:nvSpPr>
          <p:cNvPr id="22" name="Text Placeholder 6">
            <a:extLst>
              <a:ext uri="{FF2B5EF4-FFF2-40B4-BE49-F238E27FC236}">
                <a16:creationId xmlns:a16="http://schemas.microsoft.com/office/drawing/2014/main" id="{7035F1B3-4E91-44FF-B4E7-E5D87C7A034C}"/>
              </a:ext>
            </a:extLst>
          </p:cNvPr>
          <p:cNvSpPr>
            <a:spLocks noGrp="1"/>
          </p:cNvSpPr>
          <p:nvPr>
            <p:ph type="body" sz="quarter" idx="11" hasCustomPrompt="1"/>
          </p:nvPr>
        </p:nvSpPr>
        <p:spPr>
          <a:xfrm>
            <a:off x="7002320" y="5012635"/>
            <a:ext cx="4533900" cy="503238"/>
          </a:xfrm>
        </p:spPr>
        <p:txBody>
          <a:bodyPr vert="horz" lIns="91440" tIns="45720" rIns="91440" bIns="45720" rtlCol="0">
            <a:noAutofit/>
          </a:bodyPr>
          <a:lstStyle>
            <a:lvl1pPr marL="0" indent="0">
              <a:buNone/>
              <a:defRPr lang="en-US" sz="1600" b="0" cap="all" baseline="0" dirty="0" smtClean="0">
                <a:solidFill>
                  <a:schemeClr val="bg1"/>
                </a:solidFill>
              </a:defRPr>
            </a:lvl1pPr>
          </a:lstStyle>
          <a:p>
            <a:pPr marL="228600" lvl="0" indent="-228600" rtl="0"/>
            <a:r>
              <a:rPr lang="en-GB" noProof="0" dirty="0"/>
              <a:t>Website URL here</a:t>
            </a:r>
          </a:p>
        </p:txBody>
      </p:sp>
      <p:sp>
        <p:nvSpPr>
          <p:cNvPr id="18" name="Title 1">
            <a:extLst>
              <a:ext uri="{FF2B5EF4-FFF2-40B4-BE49-F238E27FC236}">
                <a16:creationId xmlns:a16="http://schemas.microsoft.com/office/drawing/2014/main" id="{525B5135-F466-4A63-A42C-3BB2BAA7D24D}"/>
              </a:ext>
            </a:extLst>
          </p:cNvPr>
          <p:cNvSpPr>
            <a:spLocks noGrp="1"/>
          </p:cNvSpPr>
          <p:nvPr>
            <p:ph type="title"/>
          </p:nvPr>
        </p:nvSpPr>
        <p:spPr>
          <a:xfrm>
            <a:off x="6469778" y="3158641"/>
            <a:ext cx="5011410" cy="921807"/>
          </a:xfrm>
          <a:noFill/>
        </p:spPr>
        <p:txBody>
          <a:bodyPr wrap="square" rtlCol="0">
            <a:noAutofit/>
          </a:bodyPr>
          <a:lstStyle>
            <a:lvl1pPr>
              <a:defRPr lang="en-US" sz="6000" b="1" cap="all" baseline="0" dirty="0">
                <a:solidFill>
                  <a:schemeClr val="bg1"/>
                </a:solidFill>
                <a:ea typeface="+mn-ea"/>
                <a:cs typeface="+mn-cs"/>
              </a:defRPr>
            </a:lvl1pPr>
          </a:lstStyle>
          <a:p>
            <a:pPr marL="0" lvl="0" rtl="0"/>
            <a:r>
              <a:rPr lang="en-US" noProof="0" dirty="0"/>
              <a:t>Click to edit Master title style</a:t>
            </a:r>
            <a:endParaRPr lang="en-GB" noProof="0" dirty="0"/>
          </a:p>
        </p:txBody>
      </p:sp>
    </p:spTree>
    <p:extLst>
      <p:ext uri="{BB962C8B-B14F-4D97-AF65-F5344CB8AC3E}">
        <p14:creationId xmlns:p14="http://schemas.microsoft.com/office/powerpoint/2010/main" val="810107028"/>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pos="7333">
          <p15:clr>
            <a:srgbClr val="FBAE40"/>
          </p15:clr>
        </p15:guide>
        <p15:guide id="4" pos="362">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6299464-ED20-4919-8B3A-2CFAE8DA2347}"/>
              </a:ext>
            </a:extLst>
          </p:cNvPr>
          <p:cNvSpPr/>
          <p:nvPr userDrawn="1"/>
        </p:nvSpPr>
        <p:spPr>
          <a:xfrm>
            <a:off x="0" y="0"/>
            <a:ext cx="12192000" cy="685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noProof="0" dirty="0"/>
          </a:p>
        </p:txBody>
      </p:sp>
      <p:sp>
        <p:nvSpPr>
          <p:cNvPr id="6" name="Oval 5">
            <a:extLst>
              <a:ext uri="{FF2B5EF4-FFF2-40B4-BE49-F238E27FC236}">
                <a16:creationId xmlns:a16="http://schemas.microsoft.com/office/drawing/2014/main" id="{1F54E98B-AC75-484D-9121-68498EB888AA}"/>
              </a:ext>
            </a:extLst>
          </p:cNvPr>
          <p:cNvSpPr/>
          <p:nvPr userDrawn="1"/>
        </p:nvSpPr>
        <p:spPr>
          <a:xfrm>
            <a:off x="754010" y="708293"/>
            <a:ext cx="5334029" cy="5334029"/>
          </a:xfrm>
          <a:prstGeom prst="ellipse">
            <a:avLst/>
          </a:prstGeom>
          <a:solidFill>
            <a:schemeClr val="bg1">
              <a:alpha val="1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noProof="0" dirty="0"/>
          </a:p>
        </p:txBody>
      </p:sp>
      <p:sp>
        <p:nvSpPr>
          <p:cNvPr id="2" name="Title 1">
            <a:extLst>
              <a:ext uri="{FF2B5EF4-FFF2-40B4-BE49-F238E27FC236}">
                <a16:creationId xmlns:a16="http://schemas.microsoft.com/office/drawing/2014/main" id="{2456FD49-C258-4333-9422-358C976A341C}"/>
              </a:ext>
            </a:extLst>
          </p:cNvPr>
          <p:cNvSpPr>
            <a:spLocks noGrp="1"/>
          </p:cNvSpPr>
          <p:nvPr>
            <p:ph type="ctrTitle" hasCustomPrompt="1"/>
          </p:nvPr>
        </p:nvSpPr>
        <p:spPr>
          <a:xfrm>
            <a:off x="6343650" y="2173288"/>
            <a:ext cx="5143500" cy="2090808"/>
          </a:xfrm>
        </p:spPr>
        <p:txBody>
          <a:bodyPr rtlCol="0" anchor="b">
            <a:noAutofit/>
          </a:bodyPr>
          <a:lstStyle>
            <a:lvl1pPr algn="l">
              <a:defRPr sz="5400" b="1" cap="all" baseline="0">
                <a:solidFill>
                  <a:schemeClr val="bg1"/>
                </a:solidFill>
                <a:latin typeface="+mj-lt"/>
              </a:defRPr>
            </a:lvl1pPr>
          </a:lstStyle>
          <a:p>
            <a:pPr rtl="0"/>
            <a:r>
              <a:rPr lang="en-GB" noProof="0" dirty="0"/>
              <a:t>Title comes here</a:t>
            </a:r>
          </a:p>
        </p:txBody>
      </p:sp>
      <p:sp>
        <p:nvSpPr>
          <p:cNvPr id="3" name="Subtitle 2">
            <a:extLst>
              <a:ext uri="{FF2B5EF4-FFF2-40B4-BE49-F238E27FC236}">
                <a16:creationId xmlns:a16="http://schemas.microsoft.com/office/drawing/2014/main" id="{59758E15-A93D-4FB9-843D-1490E27A151B}"/>
              </a:ext>
            </a:extLst>
          </p:cNvPr>
          <p:cNvSpPr>
            <a:spLocks noGrp="1"/>
          </p:cNvSpPr>
          <p:nvPr>
            <p:ph type="subTitle" idx="1"/>
          </p:nvPr>
        </p:nvSpPr>
        <p:spPr>
          <a:xfrm>
            <a:off x="6343650" y="4279971"/>
            <a:ext cx="5143500" cy="503167"/>
          </a:xfrm>
        </p:spPr>
        <p:txBody>
          <a:bodyPr rtlCol="0">
            <a:noAutofit/>
          </a:bodyPr>
          <a:lstStyle>
            <a:lvl1pPr marL="0" indent="0" algn="l">
              <a:buNone/>
              <a:defRPr sz="1800" b="0" cap="all" baseline="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rtl="0"/>
            <a:r>
              <a:rPr lang="en-US" noProof="0"/>
              <a:t>Click to edit Master subtitle style</a:t>
            </a:r>
            <a:endParaRPr lang="en-GB" noProof="0" dirty="0"/>
          </a:p>
        </p:txBody>
      </p:sp>
      <p:grpSp>
        <p:nvGrpSpPr>
          <p:cNvPr id="14" name="Group 13">
            <a:extLst>
              <a:ext uri="{FF2B5EF4-FFF2-40B4-BE49-F238E27FC236}">
                <a16:creationId xmlns:a16="http://schemas.microsoft.com/office/drawing/2014/main" id="{0DC2055F-AE3F-46BE-B57E-A0F1A86D1C36}"/>
              </a:ext>
            </a:extLst>
          </p:cNvPr>
          <p:cNvGrpSpPr/>
          <p:nvPr userDrawn="1"/>
        </p:nvGrpSpPr>
        <p:grpSpPr>
          <a:xfrm>
            <a:off x="-1728305" y="-2049517"/>
            <a:ext cx="8917229" cy="10769768"/>
            <a:chOff x="11114088" y="2241550"/>
            <a:chExt cx="1905000" cy="2354263"/>
          </a:xfrm>
          <a:solidFill>
            <a:schemeClr val="bg1">
              <a:alpha val="16000"/>
            </a:schemeClr>
          </a:solidFill>
        </p:grpSpPr>
        <p:sp>
          <p:nvSpPr>
            <p:cNvPr id="15" name="Freeform 5">
              <a:extLst>
                <a:ext uri="{FF2B5EF4-FFF2-40B4-BE49-F238E27FC236}">
                  <a16:creationId xmlns:a16="http://schemas.microsoft.com/office/drawing/2014/main" id="{C98EF042-A3B8-406D-BC16-153A989F571A}"/>
                </a:ext>
              </a:extLst>
            </p:cNvPr>
            <p:cNvSpPr>
              <a:spLocks/>
            </p:cNvSpPr>
            <p:nvPr/>
          </p:nvSpPr>
          <p:spPr bwMode="auto">
            <a:xfrm>
              <a:off x="11114088" y="2241550"/>
              <a:ext cx="1905000" cy="2354263"/>
            </a:xfrm>
            <a:custGeom>
              <a:avLst/>
              <a:gdLst>
                <a:gd name="T0" fmla="*/ 0 w 447"/>
                <a:gd name="T1" fmla="*/ 264 h 553"/>
                <a:gd name="T2" fmla="*/ 141 w 447"/>
                <a:gd name="T3" fmla="*/ 48 h 553"/>
                <a:gd name="T4" fmla="*/ 414 w 447"/>
                <a:gd name="T5" fmla="*/ 67 h 553"/>
                <a:gd name="T6" fmla="*/ 438 w 447"/>
                <a:gd name="T7" fmla="*/ 98 h 553"/>
                <a:gd name="T8" fmla="*/ 391 w 447"/>
                <a:gd name="T9" fmla="*/ 111 h 553"/>
                <a:gd name="T10" fmla="*/ 94 w 447"/>
                <a:gd name="T11" fmla="*/ 149 h 553"/>
                <a:gd name="T12" fmla="*/ 107 w 447"/>
                <a:gd name="T13" fmla="*/ 424 h 553"/>
                <a:gd name="T14" fmla="*/ 383 w 447"/>
                <a:gd name="T15" fmla="*/ 453 h 553"/>
                <a:gd name="T16" fmla="*/ 393 w 447"/>
                <a:gd name="T17" fmla="*/ 446 h 553"/>
                <a:gd name="T18" fmla="*/ 433 w 447"/>
                <a:gd name="T19" fmla="*/ 449 h 553"/>
                <a:gd name="T20" fmla="*/ 421 w 447"/>
                <a:gd name="T21" fmla="*/ 485 h 553"/>
                <a:gd name="T22" fmla="*/ 194 w 447"/>
                <a:gd name="T23" fmla="*/ 531 h 553"/>
                <a:gd name="T24" fmla="*/ 0 w 447"/>
                <a:gd name="T25" fmla="*/ 264 h 5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7" h="553">
                  <a:moveTo>
                    <a:pt x="0" y="264"/>
                  </a:moveTo>
                  <a:cubicBezTo>
                    <a:pt x="5" y="176"/>
                    <a:pt x="49" y="96"/>
                    <a:pt x="141" y="48"/>
                  </a:cubicBezTo>
                  <a:cubicBezTo>
                    <a:pt x="235" y="0"/>
                    <a:pt x="327" y="9"/>
                    <a:pt x="414" y="67"/>
                  </a:cubicBezTo>
                  <a:cubicBezTo>
                    <a:pt x="425" y="75"/>
                    <a:pt x="439" y="82"/>
                    <a:pt x="438" y="98"/>
                  </a:cubicBezTo>
                  <a:cubicBezTo>
                    <a:pt x="437" y="120"/>
                    <a:pt x="413" y="127"/>
                    <a:pt x="391" y="111"/>
                  </a:cubicBezTo>
                  <a:cubicBezTo>
                    <a:pt x="294" y="40"/>
                    <a:pt x="166" y="56"/>
                    <a:pt x="94" y="149"/>
                  </a:cubicBezTo>
                  <a:cubicBezTo>
                    <a:pt x="30" y="231"/>
                    <a:pt x="36" y="349"/>
                    <a:pt x="107" y="424"/>
                  </a:cubicBezTo>
                  <a:cubicBezTo>
                    <a:pt x="180" y="502"/>
                    <a:pt x="296" y="514"/>
                    <a:pt x="383" y="453"/>
                  </a:cubicBezTo>
                  <a:cubicBezTo>
                    <a:pt x="386" y="451"/>
                    <a:pt x="390" y="449"/>
                    <a:pt x="393" y="446"/>
                  </a:cubicBezTo>
                  <a:cubicBezTo>
                    <a:pt x="407" y="433"/>
                    <a:pt x="420" y="433"/>
                    <a:pt x="433" y="449"/>
                  </a:cubicBezTo>
                  <a:cubicBezTo>
                    <a:pt x="447" y="467"/>
                    <a:pt x="433" y="477"/>
                    <a:pt x="421" y="485"/>
                  </a:cubicBezTo>
                  <a:cubicBezTo>
                    <a:pt x="353" y="537"/>
                    <a:pt x="277" y="553"/>
                    <a:pt x="194" y="531"/>
                  </a:cubicBezTo>
                  <a:cubicBezTo>
                    <a:pt x="79" y="501"/>
                    <a:pt x="1" y="397"/>
                    <a:pt x="0" y="26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en-GB" noProof="0" dirty="0"/>
            </a:p>
          </p:txBody>
        </p:sp>
        <p:sp>
          <p:nvSpPr>
            <p:cNvPr id="16" name="Freeform 6">
              <a:extLst>
                <a:ext uri="{FF2B5EF4-FFF2-40B4-BE49-F238E27FC236}">
                  <a16:creationId xmlns:a16="http://schemas.microsoft.com/office/drawing/2014/main" id="{68E5FAC9-A660-4D7A-AC84-0A7C8CC3BB65}"/>
                </a:ext>
              </a:extLst>
            </p:cNvPr>
            <p:cNvSpPr>
              <a:spLocks/>
            </p:cNvSpPr>
            <p:nvPr/>
          </p:nvSpPr>
          <p:spPr bwMode="auto">
            <a:xfrm>
              <a:off x="11412538" y="2590800"/>
              <a:ext cx="835025" cy="1673225"/>
            </a:xfrm>
            <a:custGeom>
              <a:avLst/>
              <a:gdLst>
                <a:gd name="T0" fmla="*/ 0 w 196"/>
                <a:gd name="T1" fmla="*/ 198 h 393"/>
                <a:gd name="T2" fmla="*/ 157 w 196"/>
                <a:gd name="T3" fmla="*/ 8 h 393"/>
                <a:gd name="T4" fmla="*/ 192 w 196"/>
                <a:gd name="T5" fmla="*/ 22 h 393"/>
                <a:gd name="T6" fmla="*/ 167 w 196"/>
                <a:gd name="T7" fmla="*/ 56 h 393"/>
                <a:gd name="T8" fmla="*/ 48 w 196"/>
                <a:gd name="T9" fmla="*/ 198 h 393"/>
                <a:gd name="T10" fmla="*/ 170 w 196"/>
                <a:gd name="T11" fmla="*/ 339 h 393"/>
                <a:gd name="T12" fmla="*/ 193 w 196"/>
                <a:gd name="T13" fmla="*/ 372 h 393"/>
                <a:gd name="T14" fmla="*/ 160 w 196"/>
                <a:gd name="T15" fmla="*/ 387 h 393"/>
                <a:gd name="T16" fmla="*/ 0 w 196"/>
                <a:gd name="T17" fmla="*/ 198 h 3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6" h="393">
                  <a:moveTo>
                    <a:pt x="0" y="198"/>
                  </a:moveTo>
                  <a:cubicBezTo>
                    <a:pt x="0" y="103"/>
                    <a:pt x="64" y="26"/>
                    <a:pt x="157" y="8"/>
                  </a:cubicBezTo>
                  <a:cubicBezTo>
                    <a:pt x="171" y="6"/>
                    <a:pt x="188" y="0"/>
                    <a:pt x="192" y="22"/>
                  </a:cubicBezTo>
                  <a:cubicBezTo>
                    <a:pt x="196" y="41"/>
                    <a:pt x="190" y="52"/>
                    <a:pt x="167" y="56"/>
                  </a:cubicBezTo>
                  <a:cubicBezTo>
                    <a:pt x="95" y="70"/>
                    <a:pt x="47" y="129"/>
                    <a:pt x="48" y="198"/>
                  </a:cubicBezTo>
                  <a:cubicBezTo>
                    <a:pt x="48" y="267"/>
                    <a:pt x="97" y="325"/>
                    <a:pt x="170" y="339"/>
                  </a:cubicBezTo>
                  <a:cubicBezTo>
                    <a:pt x="191" y="343"/>
                    <a:pt x="195" y="354"/>
                    <a:pt x="193" y="372"/>
                  </a:cubicBezTo>
                  <a:cubicBezTo>
                    <a:pt x="190" y="393"/>
                    <a:pt x="174" y="389"/>
                    <a:pt x="160" y="387"/>
                  </a:cubicBezTo>
                  <a:cubicBezTo>
                    <a:pt x="70" y="375"/>
                    <a:pt x="0" y="293"/>
                    <a:pt x="0" y="19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en-GB" noProof="0" dirty="0"/>
            </a:p>
          </p:txBody>
        </p:sp>
      </p:grpSp>
      <p:pic>
        <p:nvPicPr>
          <p:cNvPr id="9" name="Picture 8">
            <a:extLst>
              <a:ext uri="{FF2B5EF4-FFF2-40B4-BE49-F238E27FC236}">
                <a16:creationId xmlns:a16="http://schemas.microsoft.com/office/drawing/2014/main" id="{4FE28ACC-E44C-4381-B768-0310810E78D2}"/>
              </a:ext>
            </a:extLst>
          </p:cNvPr>
          <p:cNvPicPr>
            <a:picLocks noChangeAspect="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a:ext>
            </a:extLst>
          </a:blip>
          <a:stretch>
            <a:fillRect/>
          </a:stretch>
        </p:blipFill>
        <p:spPr>
          <a:xfrm>
            <a:off x="10015850" y="391862"/>
            <a:ext cx="1745251" cy="673365"/>
          </a:xfrm>
          <a:prstGeom prst="rect">
            <a:avLst/>
          </a:prstGeom>
        </p:spPr>
      </p:pic>
      <p:cxnSp>
        <p:nvCxnSpPr>
          <p:cNvPr id="5" name="Straight Connector 4">
            <a:extLst>
              <a:ext uri="{FF2B5EF4-FFF2-40B4-BE49-F238E27FC236}">
                <a16:creationId xmlns:a16="http://schemas.microsoft.com/office/drawing/2014/main" id="{819AFA09-F4B1-493D-BCAD-FF30C20CD1AA}"/>
              </a:ext>
            </a:extLst>
          </p:cNvPr>
          <p:cNvCxnSpPr/>
          <p:nvPr userDrawn="1"/>
        </p:nvCxnSpPr>
        <p:spPr>
          <a:xfrm>
            <a:off x="6469778" y="4233582"/>
            <a:ext cx="2532336"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59057881"/>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pos="7333">
          <p15:clr>
            <a:srgbClr val="FBAE40"/>
          </p15:clr>
        </p15:guide>
        <p15:guide id="4" pos="362">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F9087E09-D75F-4E26-B01E-A1A09BA2EA70}"/>
              </a:ext>
            </a:extLst>
          </p:cNvPr>
          <p:cNvSpPr/>
          <p:nvPr userDrawn="1"/>
        </p:nvSpPr>
        <p:spPr>
          <a:xfrm>
            <a:off x="0" y="0"/>
            <a:ext cx="12192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noProof="0" dirty="0"/>
          </a:p>
        </p:txBody>
      </p:sp>
      <p:sp>
        <p:nvSpPr>
          <p:cNvPr id="2" name="Title 1">
            <a:extLst>
              <a:ext uri="{FF2B5EF4-FFF2-40B4-BE49-F238E27FC236}">
                <a16:creationId xmlns:a16="http://schemas.microsoft.com/office/drawing/2014/main" id="{AF7A70B7-7ADE-4E0B-B956-363B0B1AA613}"/>
              </a:ext>
            </a:extLst>
          </p:cNvPr>
          <p:cNvSpPr>
            <a:spLocks noGrp="1"/>
          </p:cNvSpPr>
          <p:nvPr>
            <p:ph type="title"/>
          </p:nvPr>
        </p:nvSpPr>
        <p:spPr>
          <a:xfrm>
            <a:off x="831850" y="182563"/>
            <a:ext cx="10515600" cy="940181"/>
          </a:xfrm>
        </p:spPr>
        <p:txBody>
          <a:bodyPr rtlCol="0" anchor="b">
            <a:noAutofit/>
          </a:bodyPr>
          <a:lstStyle>
            <a:lvl1pPr algn="ctr">
              <a:defRPr sz="4000" b="1" cap="all" baseline="0">
                <a:solidFill>
                  <a:schemeClr val="bg1"/>
                </a:solidFill>
              </a:defRPr>
            </a:lvl1pPr>
          </a:lstStyle>
          <a:p>
            <a:pPr rtl="0"/>
            <a:r>
              <a:rPr lang="en-US" noProof="0"/>
              <a:t>Click to edit Master title style</a:t>
            </a:r>
            <a:endParaRPr lang="en-GB" noProof="0" dirty="0"/>
          </a:p>
        </p:txBody>
      </p:sp>
      <p:pic>
        <p:nvPicPr>
          <p:cNvPr id="8" name="Picture 7">
            <a:extLst>
              <a:ext uri="{FF2B5EF4-FFF2-40B4-BE49-F238E27FC236}">
                <a16:creationId xmlns:a16="http://schemas.microsoft.com/office/drawing/2014/main" id="{25FC40B0-ED27-47E5-A3C2-32A8418567EE}"/>
              </a:ext>
            </a:extLst>
          </p:cNvPr>
          <p:cNvPicPr>
            <a:picLocks noChangeAspect="1"/>
          </p:cNvPicPr>
          <p:nvPr userDrawn="1"/>
        </p:nvPicPr>
        <p:blipFill>
          <a:blip r:embed="rId2">
            <a:biLevel thresh="25000"/>
            <a:extLst>
              <a:ext uri="{28A0092B-C50C-407E-A947-70E740481C1C}">
                <a14:useLocalDpi xmlns:a14="http://schemas.microsoft.com/office/drawing/2010/main"/>
              </a:ext>
            </a:extLst>
          </a:blip>
          <a:stretch>
            <a:fillRect/>
          </a:stretch>
        </p:blipFill>
        <p:spPr>
          <a:xfrm>
            <a:off x="469638" y="6260507"/>
            <a:ext cx="1075427" cy="414929"/>
          </a:xfrm>
          <a:prstGeom prst="rect">
            <a:avLst/>
          </a:prstGeom>
        </p:spPr>
      </p:pic>
      <p:sp>
        <p:nvSpPr>
          <p:cNvPr id="11" name="Oval 10">
            <a:extLst>
              <a:ext uri="{FF2B5EF4-FFF2-40B4-BE49-F238E27FC236}">
                <a16:creationId xmlns:a16="http://schemas.microsoft.com/office/drawing/2014/main" id="{8931D2A9-0B92-4197-8802-80424C14EA7E}"/>
              </a:ext>
            </a:extLst>
          </p:cNvPr>
          <p:cNvSpPr/>
          <p:nvPr userDrawn="1"/>
        </p:nvSpPr>
        <p:spPr>
          <a:xfrm>
            <a:off x="11371669" y="6409397"/>
            <a:ext cx="280051" cy="280051"/>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noProof="0" dirty="0"/>
          </a:p>
        </p:txBody>
      </p:sp>
      <p:sp>
        <p:nvSpPr>
          <p:cNvPr id="6" name="Slide Number Placeholder 5">
            <a:extLst>
              <a:ext uri="{FF2B5EF4-FFF2-40B4-BE49-F238E27FC236}">
                <a16:creationId xmlns:a16="http://schemas.microsoft.com/office/drawing/2014/main" id="{533B74B0-30B9-45C2-9AE6-45D1978AAFAE}"/>
              </a:ext>
            </a:extLst>
          </p:cNvPr>
          <p:cNvSpPr>
            <a:spLocks noGrp="1"/>
          </p:cNvSpPr>
          <p:nvPr>
            <p:ph type="sldNum" sz="quarter" idx="12"/>
          </p:nvPr>
        </p:nvSpPr>
        <p:spPr>
          <a:xfrm>
            <a:off x="11363696" y="6455739"/>
            <a:ext cx="294460" cy="187367"/>
          </a:xfrm>
        </p:spPr>
        <p:txBody>
          <a:bodyPr lIns="0" tIns="0" rIns="0" bIns="0" rtlCol="0"/>
          <a:lstStyle>
            <a:lvl1pPr algn="ctr">
              <a:defRPr sz="900">
                <a:solidFill>
                  <a:srgbClr val="2C567A"/>
                </a:solidFill>
                <a:latin typeface="+mn-lt"/>
              </a:defRPr>
            </a:lvl1pPr>
          </a:lstStyle>
          <a:p>
            <a:pPr rtl="0"/>
            <a:fld id="{9EC71654-96A5-4280-94F3-931C61A9F92C}" type="slidenum">
              <a:rPr lang="en-GB" noProof="0" smtClean="0"/>
              <a:pPr/>
              <a:t>‹#›</a:t>
            </a:fld>
            <a:endParaRPr lang="en-GB" noProof="0" dirty="0"/>
          </a:p>
        </p:txBody>
      </p:sp>
      <p:grpSp>
        <p:nvGrpSpPr>
          <p:cNvPr id="4" name="Group 3">
            <a:extLst>
              <a:ext uri="{FF2B5EF4-FFF2-40B4-BE49-F238E27FC236}">
                <a16:creationId xmlns:a16="http://schemas.microsoft.com/office/drawing/2014/main" id="{AD5251EA-F450-4DD1-995B-DC89513424C8}"/>
              </a:ext>
            </a:extLst>
          </p:cNvPr>
          <p:cNvGrpSpPr/>
          <p:nvPr userDrawn="1"/>
        </p:nvGrpSpPr>
        <p:grpSpPr>
          <a:xfrm rot="16200000">
            <a:off x="1637386" y="1473117"/>
            <a:ext cx="8917229" cy="10769768"/>
            <a:chOff x="-1728305" y="-2049517"/>
            <a:chExt cx="8917229" cy="10769768"/>
          </a:xfrm>
        </p:grpSpPr>
        <p:sp>
          <p:nvSpPr>
            <p:cNvPr id="17" name="Oval 16">
              <a:extLst>
                <a:ext uri="{FF2B5EF4-FFF2-40B4-BE49-F238E27FC236}">
                  <a16:creationId xmlns:a16="http://schemas.microsoft.com/office/drawing/2014/main" id="{44882F4E-E8C8-46FE-A9C8-7B79782767F6}"/>
                </a:ext>
              </a:extLst>
            </p:cNvPr>
            <p:cNvSpPr/>
            <p:nvPr userDrawn="1"/>
          </p:nvSpPr>
          <p:spPr>
            <a:xfrm>
              <a:off x="754010" y="708293"/>
              <a:ext cx="5334029" cy="5334029"/>
            </a:xfrm>
            <a:prstGeom prst="ellipse">
              <a:avLst/>
            </a:prstGeom>
            <a:solidFill>
              <a:schemeClr val="bg1">
                <a:alpha val="1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noProof="0" dirty="0"/>
            </a:p>
          </p:txBody>
        </p:sp>
        <p:grpSp>
          <p:nvGrpSpPr>
            <p:cNvPr id="18" name="Group 17">
              <a:extLst>
                <a:ext uri="{FF2B5EF4-FFF2-40B4-BE49-F238E27FC236}">
                  <a16:creationId xmlns:a16="http://schemas.microsoft.com/office/drawing/2014/main" id="{965CD13B-04FB-40D5-AF62-2F43CF49BA9B}"/>
                </a:ext>
              </a:extLst>
            </p:cNvPr>
            <p:cNvGrpSpPr/>
            <p:nvPr userDrawn="1"/>
          </p:nvGrpSpPr>
          <p:grpSpPr>
            <a:xfrm>
              <a:off x="-1728305" y="-2049517"/>
              <a:ext cx="8917229" cy="10769768"/>
              <a:chOff x="11114088" y="2241550"/>
              <a:chExt cx="1905000" cy="2354263"/>
            </a:xfrm>
            <a:solidFill>
              <a:schemeClr val="bg1">
                <a:alpha val="16000"/>
              </a:schemeClr>
            </a:solidFill>
          </p:grpSpPr>
          <p:sp>
            <p:nvSpPr>
              <p:cNvPr id="19" name="Freeform 5">
                <a:extLst>
                  <a:ext uri="{FF2B5EF4-FFF2-40B4-BE49-F238E27FC236}">
                    <a16:creationId xmlns:a16="http://schemas.microsoft.com/office/drawing/2014/main" id="{01876F8F-C11E-4FB2-8150-1F0602752F97}"/>
                  </a:ext>
                </a:extLst>
              </p:cNvPr>
              <p:cNvSpPr>
                <a:spLocks/>
              </p:cNvSpPr>
              <p:nvPr/>
            </p:nvSpPr>
            <p:spPr bwMode="auto">
              <a:xfrm>
                <a:off x="11114088" y="2241550"/>
                <a:ext cx="1905000" cy="2354263"/>
              </a:xfrm>
              <a:custGeom>
                <a:avLst/>
                <a:gdLst>
                  <a:gd name="T0" fmla="*/ 0 w 447"/>
                  <a:gd name="T1" fmla="*/ 264 h 553"/>
                  <a:gd name="T2" fmla="*/ 141 w 447"/>
                  <a:gd name="T3" fmla="*/ 48 h 553"/>
                  <a:gd name="T4" fmla="*/ 414 w 447"/>
                  <a:gd name="T5" fmla="*/ 67 h 553"/>
                  <a:gd name="T6" fmla="*/ 438 w 447"/>
                  <a:gd name="T7" fmla="*/ 98 h 553"/>
                  <a:gd name="T8" fmla="*/ 391 w 447"/>
                  <a:gd name="T9" fmla="*/ 111 h 553"/>
                  <a:gd name="T10" fmla="*/ 94 w 447"/>
                  <a:gd name="T11" fmla="*/ 149 h 553"/>
                  <a:gd name="T12" fmla="*/ 107 w 447"/>
                  <a:gd name="T13" fmla="*/ 424 h 553"/>
                  <a:gd name="T14" fmla="*/ 383 w 447"/>
                  <a:gd name="T15" fmla="*/ 453 h 553"/>
                  <a:gd name="T16" fmla="*/ 393 w 447"/>
                  <a:gd name="T17" fmla="*/ 446 h 553"/>
                  <a:gd name="T18" fmla="*/ 433 w 447"/>
                  <a:gd name="T19" fmla="*/ 449 h 553"/>
                  <a:gd name="T20" fmla="*/ 421 w 447"/>
                  <a:gd name="T21" fmla="*/ 485 h 553"/>
                  <a:gd name="T22" fmla="*/ 194 w 447"/>
                  <a:gd name="T23" fmla="*/ 531 h 553"/>
                  <a:gd name="T24" fmla="*/ 0 w 447"/>
                  <a:gd name="T25" fmla="*/ 264 h 5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7" h="553">
                    <a:moveTo>
                      <a:pt x="0" y="264"/>
                    </a:moveTo>
                    <a:cubicBezTo>
                      <a:pt x="5" y="176"/>
                      <a:pt x="49" y="96"/>
                      <a:pt x="141" y="48"/>
                    </a:cubicBezTo>
                    <a:cubicBezTo>
                      <a:pt x="235" y="0"/>
                      <a:pt x="327" y="9"/>
                      <a:pt x="414" y="67"/>
                    </a:cubicBezTo>
                    <a:cubicBezTo>
                      <a:pt x="425" y="75"/>
                      <a:pt x="439" y="82"/>
                      <a:pt x="438" y="98"/>
                    </a:cubicBezTo>
                    <a:cubicBezTo>
                      <a:pt x="437" y="120"/>
                      <a:pt x="413" y="127"/>
                      <a:pt x="391" y="111"/>
                    </a:cubicBezTo>
                    <a:cubicBezTo>
                      <a:pt x="294" y="40"/>
                      <a:pt x="166" y="56"/>
                      <a:pt x="94" y="149"/>
                    </a:cubicBezTo>
                    <a:cubicBezTo>
                      <a:pt x="30" y="231"/>
                      <a:pt x="36" y="349"/>
                      <a:pt x="107" y="424"/>
                    </a:cubicBezTo>
                    <a:cubicBezTo>
                      <a:pt x="180" y="502"/>
                      <a:pt x="296" y="514"/>
                      <a:pt x="383" y="453"/>
                    </a:cubicBezTo>
                    <a:cubicBezTo>
                      <a:pt x="386" y="451"/>
                      <a:pt x="390" y="449"/>
                      <a:pt x="393" y="446"/>
                    </a:cubicBezTo>
                    <a:cubicBezTo>
                      <a:pt x="407" y="433"/>
                      <a:pt x="420" y="433"/>
                      <a:pt x="433" y="449"/>
                    </a:cubicBezTo>
                    <a:cubicBezTo>
                      <a:pt x="447" y="467"/>
                      <a:pt x="433" y="477"/>
                      <a:pt x="421" y="485"/>
                    </a:cubicBezTo>
                    <a:cubicBezTo>
                      <a:pt x="353" y="537"/>
                      <a:pt x="277" y="553"/>
                      <a:pt x="194" y="531"/>
                    </a:cubicBezTo>
                    <a:cubicBezTo>
                      <a:pt x="79" y="501"/>
                      <a:pt x="1" y="397"/>
                      <a:pt x="0" y="26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en-GB" noProof="0" dirty="0"/>
              </a:p>
            </p:txBody>
          </p:sp>
          <p:sp>
            <p:nvSpPr>
              <p:cNvPr id="20" name="Freeform 6">
                <a:extLst>
                  <a:ext uri="{FF2B5EF4-FFF2-40B4-BE49-F238E27FC236}">
                    <a16:creationId xmlns:a16="http://schemas.microsoft.com/office/drawing/2014/main" id="{08A1D05F-5F61-4156-8C83-1A002AA1E886}"/>
                  </a:ext>
                </a:extLst>
              </p:cNvPr>
              <p:cNvSpPr>
                <a:spLocks/>
              </p:cNvSpPr>
              <p:nvPr/>
            </p:nvSpPr>
            <p:spPr bwMode="auto">
              <a:xfrm>
                <a:off x="11412538" y="2590800"/>
                <a:ext cx="835025" cy="1673225"/>
              </a:xfrm>
              <a:custGeom>
                <a:avLst/>
                <a:gdLst>
                  <a:gd name="T0" fmla="*/ 0 w 196"/>
                  <a:gd name="T1" fmla="*/ 198 h 393"/>
                  <a:gd name="T2" fmla="*/ 157 w 196"/>
                  <a:gd name="T3" fmla="*/ 8 h 393"/>
                  <a:gd name="T4" fmla="*/ 192 w 196"/>
                  <a:gd name="T5" fmla="*/ 22 h 393"/>
                  <a:gd name="T6" fmla="*/ 167 w 196"/>
                  <a:gd name="T7" fmla="*/ 56 h 393"/>
                  <a:gd name="T8" fmla="*/ 48 w 196"/>
                  <a:gd name="T9" fmla="*/ 198 h 393"/>
                  <a:gd name="T10" fmla="*/ 170 w 196"/>
                  <a:gd name="T11" fmla="*/ 339 h 393"/>
                  <a:gd name="T12" fmla="*/ 193 w 196"/>
                  <a:gd name="T13" fmla="*/ 372 h 393"/>
                  <a:gd name="T14" fmla="*/ 160 w 196"/>
                  <a:gd name="T15" fmla="*/ 387 h 393"/>
                  <a:gd name="T16" fmla="*/ 0 w 196"/>
                  <a:gd name="T17" fmla="*/ 198 h 3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6" h="393">
                    <a:moveTo>
                      <a:pt x="0" y="198"/>
                    </a:moveTo>
                    <a:cubicBezTo>
                      <a:pt x="0" y="103"/>
                      <a:pt x="64" y="26"/>
                      <a:pt x="157" y="8"/>
                    </a:cubicBezTo>
                    <a:cubicBezTo>
                      <a:pt x="171" y="6"/>
                      <a:pt x="188" y="0"/>
                      <a:pt x="192" y="22"/>
                    </a:cubicBezTo>
                    <a:cubicBezTo>
                      <a:pt x="196" y="41"/>
                      <a:pt x="190" y="52"/>
                      <a:pt x="167" y="56"/>
                    </a:cubicBezTo>
                    <a:cubicBezTo>
                      <a:pt x="95" y="70"/>
                      <a:pt x="47" y="129"/>
                      <a:pt x="48" y="198"/>
                    </a:cubicBezTo>
                    <a:cubicBezTo>
                      <a:pt x="48" y="267"/>
                      <a:pt x="97" y="325"/>
                      <a:pt x="170" y="339"/>
                    </a:cubicBezTo>
                    <a:cubicBezTo>
                      <a:pt x="191" y="343"/>
                      <a:pt x="195" y="354"/>
                      <a:pt x="193" y="372"/>
                    </a:cubicBezTo>
                    <a:cubicBezTo>
                      <a:pt x="190" y="393"/>
                      <a:pt x="174" y="389"/>
                      <a:pt x="160" y="387"/>
                    </a:cubicBezTo>
                    <a:cubicBezTo>
                      <a:pt x="70" y="375"/>
                      <a:pt x="0" y="293"/>
                      <a:pt x="0" y="19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en-GB" noProof="0" dirty="0"/>
              </a:p>
            </p:txBody>
          </p:sp>
        </p:grpSp>
      </p:grpSp>
      <p:sp>
        <p:nvSpPr>
          <p:cNvPr id="21" name="Text Placeholder 2">
            <a:extLst>
              <a:ext uri="{FF2B5EF4-FFF2-40B4-BE49-F238E27FC236}">
                <a16:creationId xmlns:a16="http://schemas.microsoft.com/office/drawing/2014/main" id="{4D77C47B-CC1E-41DA-9146-5DFD63065491}"/>
              </a:ext>
            </a:extLst>
          </p:cNvPr>
          <p:cNvSpPr>
            <a:spLocks noGrp="1"/>
          </p:cNvSpPr>
          <p:nvPr>
            <p:ph type="body" idx="1"/>
          </p:nvPr>
        </p:nvSpPr>
        <p:spPr>
          <a:xfrm>
            <a:off x="831850" y="1153348"/>
            <a:ext cx="10515600" cy="648543"/>
          </a:xfrm>
        </p:spPr>
        <p:txBody>
          <a:bodyPr rtlCol="0">
            <a:normAutofit/>
          </a:bodyPr>
          <a:lstStyle>
            <a:lvl1pPr marL="0" indent="0" algn="ctr">
              <a:buNone/>
              <a:defRPr sz="18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rtl="0"/>
            <a:r>
              <a:rPr lang="en-US" noProof="0"/>
              <a:t>Click to edit Master text styles</a:t>
            </a:r>
          </a:p>
        </p:txBody>
      </p:sp>
    </p:spTree>
    <p:extLst>
      <p:ext uri="{BB962C8B-B14F-4D97-AF65-F5344CB8AC3E}">
        <p14:creationId xmlns:p14="http://schemas.microsoft.com/office/powerpoint/2010/main" val="4226544123"/>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60E0B501-22AA-4685-BE9B-A267F6F675A7}"/>
              </a:ext>
            </a:extLst>
          </p:cNvPr>
          <p:cNvGrpSpPr/>
          <p:nvPr userDrawn="1"/>
        </p:nvGrpSpPr>
        <p:grpSpPr>
          <a:xfrm rot="8650774" flipH="1" flipV="1">
            <a:off x="7430044" y="-1843126"/>
            <a:ext cx="4436224" cy="5482435"/>
            <a:chOff x="11114088" y="2241550"/>
            <a:chExt cx="1905000" cy="2354263"/>
          </a:xfrm>
          <a:solidFill>
            <a:schemeClr val="bg2">
              <a:alpha val="53000"/>
            </a:schemeClr>
          </a:solidFill>
        </p:grpSpPr>
        <p:sp>
          <p:nvSpPr>
            <p:cNvPr id="24" name="Freeform 5">
              <a:extLst>
                <a:ext uri="{FF2B5EF4-FFF2-40B4-BE49-F238E27FC236}">
                  <a16:creationId xmlns:a16="http://schemas.microsoft.com/office/drawing/2014/main" id="{5D0E179E-CA3D-4874-9ACD-F8990F48F4BF}"/>
                </a:ext>
              </a:extLst>
            </p:cNvPr>
            <p:cNvSpPr>
              <a:spLocks/>
            </p:cNvSpPr>
            <p:nvPr/>
          </p:nvSpPr>
          <p:spPr bwMode="auto">
            <a:xfrm>
              <a:off x="11114088" y="2241550"/>
              <a:ext cx="1905000" cy="2354263"/>
            </a:xfrm>
            <a:custGeom>
              <a:avLst/>
              <a:gdLst>
                <a:gd name="T0" fmla="*/ 0 w 447"/>
                <a:gd name="T1" fmla="*/ 264 h 553"/>
                <a:gd name="T2" fmla="*/ 141 w 447"/>
                <a:gd name="T3" fmla="*/ 48 h 553"/>
                <a:gd name="T4" fmla="*/ 414 w 447"/>
                <a:gd name="T5" fmla="*/ 67 h 553"/>
                <a:gd name="T6" fmla="*/ 438 w 447"/>
                <a:gd name="T7" fmla="*/ 98 h 553"/>
                <a:gd name="T8" fmla="*/ 391 w 447"/>
                <a:gd name="T9" fmla="*/ 111 h 553"/>
                <a:gd name="T10" fmla="*/ 94 w 447"/>
                <a:gd name="T11" fmla="*/ 149 h 553"/>
                <a:gd name="T12" fmla="*/ 107 w 447"/>
                <a:gd name="T13" fmla="*/ 424 h 553"/>
                <a:gd name="T14" fmla="*/ 383 w 447"/>
                <a:gd name="T15" fmla="*/ 453 h 553"/>
                <a:gd name="T16" fmla="*/ 393 w 447"/>
                <a:gd name="T17" fmla="*/ 446 h 553"/>
                <a:gd name="T18" fmla="*/ 433 w 447"/>
                <a:gd name="T19" fmla="*/ 449 h 553"/>
                <a:gd name="T20" fmla="*/ 421 w 447"/>
                <a:gd name="T21" fmla="*/ 485 h 553"/>
                <a:gd name="T22" fmla="*/ 194 w 447"/>
                <a:gd name="T23" fmla="*/ 531 h 553"/>
                <a:gd name="T24" fmla="*/ 0 w 447"/>
                <a:gd name="T25" fmla="*/ 264 h 5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7" h="553">
                  <a:moveTo>
                    <a:pt x="0" y="264"/>
                  </a:moveTo>
                  <a:cubicBezTo>
                    <a:pt x="5" y="176"/>
                    <a:pt x="49" y="96"/>
                    <a:pt x="141" y="48"/>
                  </a:cubicBezTo>
                  <a:cubicBezTo>
                    <a:pt x="235" y="0"/>
                    <a:pt x="327" y="9"/>
                    <a:pt x="414" y="67"/>
                  </a:cubicBezTo>
                  <a:cubicBezTo>
                    <a:pt x="425" y="75"/>
                    <a:pt x="439" y="82"/>
                    <a:pt x="438" y="98"/>
                  </a:cubicBezTo>
                  <a:cubicBezTo>
                    <a:pt x="437" y="120"/>
                    <a:pt x="413" y="127"/>
                    <a:pt x="391" y="111"/>
                  </a:cubicBezTo>
                  <a:cubicBezTo>
                    <a:pt x="294" y="40"/>
                    <a:pt x="166" y="56"/>
                    <a:pt x="94" y="149"/>
                  </a:cubicBezTo>
                  <a:cubicBezTo>
                    <a:pt x="30" y="231"/>
                    <a:pt x="36" y="349"/>
                    <a:pt x="107" y="424"/>
                  </a:cubicBezTo>
                  <a:cubicBezTo>
                    <a:pt x="180" y="502"/>
                    <a:pt x="296" y="514"/>
                    <a:pt x="383" y="453"/>
                  </a:cubicBezTo>
                  <a:cubicBezTo>
                    <a:pt x="386" y="451"/>
                    <a:pt x="390" y="449"/>
                    <a:pt x="393" y="446"/>
                  </a:cubicBezTo>
                  <a:cubicBezTo>
                    <a:pt x="407" y="433"/>
                    <a:pt x="420" y="433"/>
                    <a:pt x="433" y="449"/>
                  </a:cubicBezTo>
                  <a:cubicBezTo>
                    <a:pt x="447" y="467"/>
                    <a:pt x="433" y="477"/>
                    <a:pt x="421" y="485"/>
                  </a:cubicBezTo>
                  <a:cubicBezTo>
                    <a:pt x="353" y="537"/>
                    <a:pt x="277" y="553"/>
                    <a:pt x="194" y="531"/>
                  </a:cubicBezTo>
                  <a:cubicBezTo>
                    <a:pt x="79" y="501"/>
                    <a:pt x="1" y="397"/>
                    <a:pt x="0" y="26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en-GB" noProof="0" dirty="0"/>
            </a:p>
          </p:txBody>
        </p:sp>
        <p:sp>
          <p:nvSpPr>
            <p:cNvPr id="25" name="Freeform 6">
              <a:extLst>
                <a:ext uri="{FF2B5EF4-FFF2-40B4-BE49-F238E27FC236}">
                  <a16:creationId xmlns:a16="http://schemas.microsoft.com/office/drawing/2014/main" id="{A9C53936-B93A-4CF6-8766-2FA93ACFEBE3}"/>
                </a:ext>
              </a:extLst>
            </p:cNvPr>
            <p:cNvSpPr>
              <a:spLocks/>
            </p:cNvSpPr>
            <p:nvPr/>
          </p:nvSpPr>
          <p:spPr bwMode="auto">
            <a:xfrm>
              <a:off x="11412538" y="2590800"/>
              <a:ext cx="835025" cy="1673225"/>
            </a:xfrm>
            <a:custGeom>
              <a:avLst/>
              <a:gdLst>
                <a:gd name="T0" fmla="*/ 0 w 196"/>
                <a:gd name="T1" fmla="*/ 198 h 393"/>
                <a:gd name="T2" fmla="*/ 157 w 196"/>
                <a:gd name="T3" fmla="*/ 8 h 393"/>
                <a:gd name="T4" fmla="*/ 192 w 196"/>
                <a:gd name="T5" fmla="*/ 22 h 393"/>
                <a:gd name="T6" fmla="*/ 167 w 196"/>
                <a:gd name="T7" fmla="*/ 56 h 393"/>
                <a:gd name="T8" fmla="*/ 48 w 196"/>
                <a:gd name="T9" fmla="*/ 198 h 393"/>
                <a:gd name="T10" fmla="*/ 170 w 196"/>
                <a:gd name="T11" fmla="*/ 339 h 393"/>
                <a:gd name="T12" fmla="*/ 193 w 196"/>
                <a:gd name="T13" fmla="*/ 372 h 393"/>
                <a:gd name="T14" fmla="*/ 160 w 196"/>
                <a:gd name="T15" fmla="*/ 387 h 393"/>
                <a:gd name="T16" fmla="*/ 0 w 196"/>
                <a:gd name="T17" fmla="*/ 198 h 3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6" h="393">
                  <a:moveTo>
                    <a:pt x="0" y="198"/>
                  </a:moveTo>
                  <a:cubicBezTo>
                    <a:pt x="0" y="103"/>
                    <a:pt x="64" y="26"/>
                    <a:pt x="157" y="8"/>
                  </a:cubicBezTo>
                  <a:cubicBezTo>
                    <a:pt x="171" y="6"/>
                    <a:pt x="188" y="0"/>
                    <a:pt x="192" y="22"/>
                  </a:cubicBezTo>
                  <a:cubicBezTo>
                    <a:pt x="196" y="41"/>
                    <a:pt x="190" y="52"/>
                    <a:pt x="167" y="56"/>
                  </a:cubicBezTo>
                  <a:cubicBezTo>
                    <a:pt x="95" y="70"/>
                    <a:pt x="47" y="129"/>
                    <a:pt x="48" y="198"/>
                  </a:cubicBezTo>
                  <a:cubicBezTo>
                    <a:pt x="48" y="267"/>
                    <a:pt x="97" y="325"/>
                    <a:pt x="170" y="339"/>
                  </a:cubicBezTo>
                  <a:cubicBezTo>
                    <a:pt x="191" y="343"/>
                    <a:pt x="195" y="354"/>
                    <a:pt x="193" y="372"/>
                  </a:cubicBezTo>
                  <a:cubicBezTo>
                    <a:pt x="190" y="393"/>
                    <a:pt x="174" y="389"/>
                    <a:pt x="160" y="387"/>
                  </a:cubicBezTo>
                  <a:cubicBezTo>
                    <a:pt x="70" y="375"/>
                    <a:pt x="0" y="293"/>
                    <a:pt x="0" y="19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en-GB" noProof="0" dirty="0"/>
            </a:p>
          </p:txBody>
        </p:sp>
        <p:sp>
          <p:nvSpPr>
            <p:cNvPr id="26" name="Freeform 7">
              <a:extLst>
                <a:ext uri="{FF2B5EF4-FFF2-40B4-BE49-F238E27FC236}">
                  <a16:creationId xmlns:a16="http://schemas.microsoft.com/office/drawing/2014/main" id="{5776DEA2-5422-4F51-B359-652B71274D31}"/>
                </a:ext>
              </a:extLst>
            </p:cNvPr>
            <p:cNvSpPr>
              <a:spLocks/>
            </p:cNvSpPr>
            <p:nvPr/>
          </p:nvSpPr>
          <p:spPr bwMode="auto">
            <a:xfrm>
              <a:off x="11728451" y="3071813"/>
              <a:ext cx="306388" cy="719138"/>
            </a:xfrm>
            <a:custGeom>
              <a:avLst/>
              <a:gdLst>
                <a:gd name="T0" fmla="*/ 0 w 72"/>
                <a:gd name="T1" fmla="*/ 84 h 169"/>
                <a:gd name="T2" fmla="*/ 20 w 72"/>
                <a:gd name="T3" fmla="*/ 20 h 169"/>
                <a:gd name="T4" fmla="*/ 42 w 72"/>
                <a:gd name="T5" fmla="*/ 9 h 169"/>
                <a:gd name="T6" fmla="*/ 62 w 72"/>
                <a:gd name="T7" fmla="*/ 44 h 169"/>
                <a:gd name="T8" fmla="*/ 62 w 72"/>
                <a:gd name="T9" fmla="*/ 125 h 169"/>
                <a:gd name="T10" fmla="*/ 43 w 72"/>
                <a:gd name="T11" fmla="*/ 159 h 169"/>
                <a:gd name="T12" fmla="*/ 20 w 72"/>
                <a:gd name="T13" fmla="*/ 148 h 169"/>
                <a:gd name="T14" fmla="*/ 0 w 72"/>
                <a:gd name="T15" fmla="*/ 84 h 16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2" h="169">
                  <a:moveTo>
                    <a:pt x="0" y="84"/>
                  </a:moveTo>
                  <a:cubicBezTo>
                    <a:pt x="2" y="62"/>
                    <a:pt x="6" y="39"/>
                    <a:pt x="20" y="20"/>
                  </a:cubicBezTo>
                  <a:cubicBezTo>
                    <a:pt x="25" y="13"/>
                    <a:pt x="31" y="0"/>
                    <a:pt x="42" y="9"/>
                  </a:cubicBezTo>
                  <a:cubicBezTo>
                    <a:pt x="53" y="18"/>
                    <a:pt x="72" y="25"/>
                    <a:pt x="62" y="44"/>
                  </a:cubicBezTo>
                  <a:cubicBezTo>
                    <a:pt x="47" y="72"/>
                    <a:pt x="47" y="97"/>
                    <a:pt x="62" y="125"/>
                  </a:cubicBezTo>
                  <a:cubicBezTo>
                    <a:pt x="72" y="143"/>
                    <a:pt x="53" y="151"/>
                    <a:pt x="43" y="159"/>
                  </a:cubicBezTo>
                  <a:cubicBezTo>
                    <a:pt x="31" y="169"/>
                    <a:pt x="25" y="156"/>
                    <a:pt x="20" y="148"/>
                  </a:cubicBezTo>
                  <a:cubicBezTo>
                    <a:pt x="6" y="129"/>
                    <a:pt x="2" y="107"/>
                    <a:pt x="0" y="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en-GB" noProof="0" dirty="0"/>
            </a:p>
          </p:txBody>
        </p:sp>
      </p:grpSp>
      <p:sp>
        <p:nvSpPr>
          <p:cNvPr id="7" name="Rectangle 6">
            <a:extLst>
              <a:ext uri="{FF2B5EF4-FFF2-40B4-BE49-F238E27FC236}">
                <a16:creationId xmlns:a16="http://schemas.microsoft.com/office/drawing/2014/main" id="{76627016-BFC4-46D4-89DB-F72E3C3461EC}"/>
              </a:ext>
            </a:extLst>
          </p:cNvPr>
          <p:cNvSpPr/>
          <p:nvPr userDrawn="1"/>
        </p:nvSpPr>
        <p:spPr>
          <a:xfrm rot="10800000">
            <a:off x="515938" y="-16721"/>
            <a:ext cx="1258618" cy="11050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noProof="0" dirty="0">
              <a:solidFill>
                <a:schemeClr val="bg1"/>
              </a:solidFill>
            </a:endParaRPr>
          </a:p>
        </p:txBody>
      </p:sp>
      <p:sp>
        <p:nvSpPr>
          <p:cNvPr id="15" name="Oval 14">
            <a:extLst>
              <a:ext uri="{FF2B5EF4-FFF2-40B4-BE49-F238E27FC236}">
                <a16:creationId xmlns:a16="http://schemas.microsoft.com/office/drawing/2014/main" id="{EF515B4A-CB20-4847-8E00-0DD66F1FEBB4}"/>
              </a:ext>
            </a:extLst>
          </p:cNvPr>
          <p:cNvSpPr/>
          <p:nvPr userDrawn="1"/>
        </p:nvSpPr>
        <p:spPr>
          <a:xfrm>
            <a:off x="11371669" y="6409397"/>
            <a:ext cx="280051" cy="280051"/>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noProof="0" dirty="0"/>
          </a:p>
        </p:txBody>
      </p:sp>
      <p:sp>
        <p:nvSpPr>
          <p:cNvPr id="16" name="Slide Number Placeholder 5">
            <a:extLst>
              <a:ext uri="{FF2B5EF4-FFF2-40B4-BE49-F238E27FC236}">
                <a16:creationId xmlns:a16="http://schemas.microsoft.com/office/drawing/2014/main" id="{996B64B9-1DF0-4EE9-BAB5-72AFA94B9AFD}"/>
              </a:ext>
            </a:extLst>
          </p:cNvPr>
          <p:cNvSpPr>
            <a:spLocks noGrp="1"/>
          </p:cNvSpPr>
          <p:nvPr>
            <p:ph type="sldNum" sz="quarter" idx="12"/>
          </p:nvPr>
        </p:nvSpPr>
        <p:spPr>
          <a:xfrm>
            <a:off x="11363696" y="6455739"/>
            <a:ext cx="294460" cy="187367"/>
          </a:xfrm>
        </p:spPr>
        <p:txBody>
          <a:bodyPr lIns="0" tIns="0" rIns="0" bIns="0" rtlCol="0"/>
          <a:lstStyle>
            <a:lvl1pPr algn="ctr">
              <a:defRPr sz="900">
                <a:solidFill>
                  <a:schemeClr val="bg1"/>
                </a:solidFill>
                <a:latin typeface="+mn-lt"/>
              </a:defRPr>
            </a:lvl1pPr>
          </a:lstStyle>
          <a:p>
            <a:pPr rtl="0"/>
            <a:fld id="{9EC71654-96A5-4280-94F3-931C61A9F92C}" type="slidenum">
              <a:rPr lang="en-GB" noProof="0" smtClean="0"/>
              <a:pPr/>
              <a:t>‹#›</a:t>
            </a:fld>
            <a:endParaRPr lang="en-GB" noProof="0" dirty="0"/>
          </a:p>
        </p:txBody>
      </p:sp>
      <p:sp>
        <p:nvSpPr>
          <p:cNvPr id="27" name="Content Placeholder 2">
            <a:extLst>
              <a:ext uri="{FF2B5EF4-FFF2-40B4-BE49-F238E27FC236}">
                <a16:creationId xmlns:a16="http://schemas.microsoft.com/office/drawing/2014/main" id="{1A1F33A2-66F7-4D85-99DD-7B00F265AC6D}"/>
              </a:ext>
            </a:extLst>
          </p:cNvPr>
          <p:cNvSpPr>
            <a:spLocks noGrp="1"/>
          </p:cNvSpPr>
          <p:nvPr>
            <p:ph idx="1"/>
          </p:nvPr>
        </p:nvSpPr>
        <p:spPr>
          <a:xfrm>
            <a:off x="515938" y="1825625"/>
            <a:ext cx="10837862" cy="4351338"/>
          </a:xfrm>
        </p:spPr>
        <p:txBody>
          <a:bodyPr rtlCol="0"/>
          <a:lstStyle/>
          <a:p>
            <a:pPr lvl="0" rtl="0"/>
            <a:r>
              <a:rPr lang="en-US" noProof="0"/>
              <a:t>Click to edit Master text styles</a:t>
            </a:r>
          </a:p>
          <a:p>
            <a:pPr lvl="1" rtl="0"/>
            <a:r>
              <a:rPr lang="en-US" noProof="0"/>
              <a:t>Second level</a:t>
            </a:r>
          </a:p>
          <a:p>
            <a:pPr lvl="2" rtl="0"/>
            <a:r>
              <a:rPr lang="en-US" noProof="0"/>
              <a:t>Third level</a:t>
            </a:r>
          </a:p>
          <a:p>
            <a:pPr lvl="3" rtl="0"/>
            <a:r>
              <a:rPr lang="en-US" noProof="0"/>
              <a:t>Fourth level</a:t>
            </a:r>
          </a:p>
          <a:p>
            <a:pPr lvl="4" rtl="0"/>
            <a:r>
              <a:rPr lang="en-US" noProof="0"/>
              <a:t>Fifth level</a:t>
            </a:r>
            <a:endParaRPr lang="en-GB" noProof="0" dirty="0"/>
          </a:p>
        </p:txBody>
      </p:sp>
      <p:pic>
        <p:nvPicPr>
          <p:cNvPr id="12" name="Picture 11">
            <a:extLst>
              <a:ext uri="{FF2B5EF4-FFF2-40B4-BE49-F238E27FC236}">
                <a16:creationId xmlns:a16="http://schemas.microsoft.com/office/drawing/2014/main" id="{EC2DFD46-BF74-47BA-A496-92ED1979C360}"/>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472046" y="6261436"/>
            <a:ext cx="1073019" cy="414000"/>
          </a:xfrm>
          <a:prstGeom prst="rect">
            <a:avLst/>
          </a:prstGeom>
        </p:spPr>
      </p:pic>
      <p:sp>
        <p:nvSpPr>
          <p:cNvPr id="13" name="Title 1">
            <a:extLst>
              <a:ext uri="{FF2B5EF4-FFF2-40B4-BE49-F238E27FC236}">
                <a16:creationId xmlns:a16="http://schemas.microsoft.com/office/drawing/2014/main" id="{EF788279-D710-447A-9E71-4D1344575691}"/>
              </a:ext>
            </a:extLst>
          </p:cNvPr>
          <p:cNvSpPr>
            <a:spLocks noGrp="1"/>
          </p:cNvSpPr>
          <p:nvPr>
            <p:ph type="title"/>
          </p:nvPr>
        </p:nvSpPr>
        <p:spPr>
          <a:xfrm>
            <a:off x="515938" y="246621"/>
            <a:ext cx="11150600" cy="920336"/>
          </a:xfrm>
        </p:spPr>
        <p:txBody>
          <a:bodyPr lIns="0" tIns="0" rIns="0" bIns="0" rtlCol="0" anchor="b">
            <a:noAutofit/>
          </a:bodyPr>
          <a:lstStyle>
            <a:lvl1pPr>
              <a:defRPr sz="3200" b="1" cap="all" baseline="0"/>
            </a:lvl1pPr>
          </a:lstStyle>
          <a:p>
            <a:pPr rtl="0"/>
            <a:r>
              <a:rPr lang="en-US" noProof="0"/>
              <a:t>Click to edit Master title style</a:t>
            </a:r>
            <a:endParaRPr lang="en-GB" noProof="0" dirty="0"/>
          </a:p>
        </p:txBody>
      </p:sp>
    </p:spTree>
    <p:extLst>
      <p:ext uri="{BB962C8B-B14F-4D97-AF65-F5344CB8AC3E}">
        <p14:creationId xmlns:p14="http://schemas.microsoft.com/office/powerpoint/2010/main" val="378975897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grpSp>
        <p:nvGrpSpPr>
          <p:cNvPr id="18" name="Group 17">
            <a:extLst>
              <a:ext uri="{FF2B5EF4-FFF2-40B4-BE49-F238E27FC236}">
                <a16:creationId xmlns:a16="http://schemas.microsoft.com/office/drawing/2014/main" id="{C2A6B906-ACDA-40FD-8AC8-0B693AB12796}"/>
              </a:ext>
            </a:extLst>
          </p:cNvPr>
          <p:cNvGrpSpPr/>
          <p:nvPr userDrawn="1"/>
        </p:nvGrpSpPr>
        <p:grpSpPr>
          <a:xfrm rot="8650774" flipH="1" flipV="1">
            <a:off x="7430044" y="-1843126"/>
            <a:ext cx="4436224" cy="5482435"/>
            <a:chOff x="11114088" y="2241550"/>
            <a:chExt cx="1905000" cy="2354263"/>
          </a:xfrm>
          <a:solidFill>
            <a:schemeClr val="bg2">
              <a:alpha val="53000"/>
            </a:schemeClr>
          </a:solidFill>
        </p:grpSpPr>
        <p:sp>
          <p:nvSpPr>
            <p:cNvPr id="19" name="Freeform 5">
              <a:extLst>
                <a:ext uri="{FF2B5EF4-FFF2-40B4-BE49-F238E27FC236}">
                  <a16:creationId xmlns:a16="http://schemas.microsoft.com/office/drawing/2014/main" id="{717F7366-5A99-4065-90C2-AE7DF5DD0F44}"/>
                </a:ext>
              </a:extLst>
            </p:cNvPr>
            <p:cNvSpPr>
              <a:spLocks/>
            </p:cNvSpPr>
            <p:nvPr/>
          </p:nvSpPr>
          <p:spPr bwMode="auto">
            <a:xfrm>
              <a:off x="11114088" y="2241550"/>
              <a:ext cx="1905000" cy="2354263"/>
            </a:xfrm>
            <a:custGeom>
              <a:avLst/>
              <a:gdLst>
                <a:gd name="T0" fmla="*/ 0 w 447"/>
                <a:gd name="T1" fmla="*/ 264 h 553"/>
                <a:gd name="T2" fmla="*/ 141 w 447"/>
                <a:gd name="T3" fmla="*/ 48 h 553"/>
                <a:gd name="T4" fmla="*/ 414 w 447"/>
                <a:gd name="T5" fmla="*/ 67 h 553"/>
                <a:gd name="T6" fmla="*/ 438 w 447"/>
                <a:gd name="T7" fmla="*/ 98 h 553"/>
                <a:gd name="T8" fmla="*/ 391 w 447"/>
                <a:gd name="T9" fmla="*/ 111 h 553"/>
                <a:gd name="T10" fmla="*/ 94 w 447"/>
                <a:gd name="T11" fmla="*/ 149 h 553"/>
                <a:gd name="T12" fmla="*/ 107 w 447"/>
                <a:gd name="T13" fmla="*/ 424 h 553"/>
                <a:gd name="T14" fmla="*/ 383 w 447"/>
                <a:gd name="T15" fmla="*/ 453 h 553"/>
                <a:gd name="T16" fmla="*/ 393 w 447"/>
                <a:gd name="T17" fmla="*/ 446 h 553"/>
                <a:gd name="T18" fmla="*/ 433 w 447"/>
                <a:gd name="T19" fmla="*/ 449 h 553"/>
                <a:gd name="T20" fmla="*/ 421 w 447"/>
                <a:gd name="T21" fmla="*/ 485 h 553"/>
                <a:gd name="T22" fmla="*/ 194 w 447"/>
                <a:gd name="T23" fmla="*/ 531 h 553"/>
                <a:gd name="T24" fmla="*/ 0 w 447"/>
                <a:gd name="T25" fmla="*/ 264 h 5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7" h="553">
                  <a:moveTo>
                    <a:pt x="0" y="264"/>
                  </a:moveTo>
                  <a:cubicBezTo>
                    <a:pt x="5" y="176"/>
                    <a:pt x="49" y="96"/>
                    <a:pt x="141" y="48"/>
                  </a:cubicBezTo>
                  <a:cubicBezTo>
                    <a:pt x="235" y="0"/>
                    <a:pt x="327" y="9"/>
                    <a:pt x="414" y="67"/>
                  </a:cubicBezTo>
                  <a:cubicBezTo>
                    <a:pt x="425" y="75"/>
                    <a:pt x="439" y="82"/>
                    <a:pt x="438" y="98"/>
                  </a:cubicBezTo>
                  <a:cubicBezTo>
                    <a:pt x="437" y="120"/>
                    <a:pt x="413" y="127"/>
                    <a:pt x="391" y="111"/>
                  </a:cubicBezTo>
                  <a:cubicBezTo>
                    <a:pt x="294" y="40"/>
                    <a:pt x="166" y="56"/>
                    <a:pt x="94" y="149"/>
                  </a:cubicBezTo>
                  <a:cubicBezTo>
                    <a:pt x="30" y="231"/>
                    <a:pt x="36" y="349"/>
                    <a:pt x="107" y="424"/>
                  </a:cubicBezTo>
                  <a:cubicBezTo>
                    <a:pt x="180" y="502"/>
                    <a:pt x="296" y="514"/>
                    <a:pt x="383" y="453"/>
                  </a:cubicBezTo>
                  <a:cubicBezTo>
                    <a:pt x="386" y="451"/>
                    <a:pt x="390" y="449"/>
                    <a:pt x="393" y="446"/>
                  </a:cubicBezTo>
                  <a:cubicBezTo>
                    <a:pt x="407" y="433"/>
                    <a:pt x="420" y="433"/>
                    <a:pt x="433" y="449"/>
                  </a:cubicBezTo>
                  <a:cubicBezTo>
                    <a:pt x="447" y="467"/>
                    <a:pt x="433" y="477"/>
                    <a:pt x="421" y="485"/>
                  </a:cubicBezTo>
                  <a:cubicBezTo>
                    <a:pt x="353" y="537"/>
                    <a:pt x="277" y="553"/>
                    <a:pt x="194" y="531"/>
                  </a:cubicBezTo>
                  <a:cubicBezTo>
                    <a:pt x="79" y="501"/>
                    <a:pt x="1" y="397"/>
                    <a:pt x="0" y="26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en-GB" noProof="0" dirty="0"/>
            </a:p>
          </p:txBody>
        </p:sp>
        <p:sp>
          <p:nvSpPr>
            <p:cNvPr id="20" name="Freeform 6">
              <a:extLst>
                <a:ext uri="{FF2B5EF4-FFF2-40B4-BE49-F238E27FC236}">
                  <a16:creationId xmlns:a16="http://schemas.microsoft.com/office/drawing/2014/main" id="{90A089CA-63B9-4456-B0B1-17C75EBFB982}"/>
                </a:ext>
              </a:extLst>
            </p:cNvPr>
            <p:cNvSpPr>
              <a:spLocks/>
            </p:cNvSpPr>
            <p:nvPr/>
          </p:nvSpPr>
          <p:spPr bwMode="auto">
            <a:xfrm>
              <a:off x="11412538" y="2590800"/>
              <a:ext cx="835025" cy="1673225"/>
            </a:xfrm>
            <a:custGeom>
              <a:avLst/>
              <a:gdLst>
                <a:gd name="T0" fmla="*/ 0 w 196"/>
                <a:gd name="T1" fmla="*/ 198 h 393"/>
                <a:gd name="T2" fmla="*/ 157 w 196"/>
                <a:gd name="T3" fmla="*/ 8 h 393"/>
                <a:gd name="T4" fmla="*/ 192 w 196"/>
                <a:gd name="T5" fmla="*/ 22 h 393"/>
                <a:gd name="T6" fmla="*/ 167 w 196"/>
                <a:gd name="T7" fmla="*/ 56 h 393"/>
                <a:gd name="T8" fmla="*/ 48 w 196"/>
                <a:gd name="T9" fmla="*/ 198 h 393"/>
                <a:gd name="T10" fmla="*/ 170 w 196"/>
                <a:gd name="T11" fmla="*/ 339 h 393"/>
                <a:gd name="T12" fmla="*/ 193 w 196"/>
                <a:gd name="T13" fmla="*/ 372 h 393"/>
                <a:gd name="T14" fmla="*/ 160 w 196"/>
                <a:gd name="T15" fmla="*/ 387 h 393"/>
                <a:gd name="T16" fmla="*/ 0 w 196"/>
                <a:gd name="T17" fmla="*/ 198 h 3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6" h="393">
                  <a:moveTo>
                    <a:pt x="0" y="198"/>
                  </a:moveTo>
                  <a:cubicBezTo>
                    <a:pt x="0" y="103"/>
                    <a:pt x="64" y="26"/>
                    <a:pt x="157" y="8"/>
                  </a:cubicBezTo>
                  <a:cubicBezTo>
                    <a:pt x="171" y="6"/>
                    <a:pt x="188" y="0"/>
                    <a:pt x="192" y="22"/>
                  </a:cubicBezTo>
                  <a:cubicBezTo>
                    <a:pt x="196" y="41"/>
                    <a:pt x="190" y="52"/>
                    <a:pt x="167" y="56"/>
                  </a:cubicBezTo>
                  <a:cubicBezTo>
                    <a:pt x="95" y="70"/>
                    <a:pt x="47" y="129"/>
                    <a:pt x="48" y="198"/>
                  </a:cubicBezTo>
                  <a:cubicBezTo>
                    <a:pt x="48" y="267"/>
                    <a:pt x="97" y="325"/>
                    <a:pt x="170" y="339"/>
                  </a:cubicBezTo>
                  <a:cubicBezTo>
                    <a:pt x="191" y="343"/>
                    <a:pt x="195" y="354"/>
                    <a:pt x="193" y="372"/>
                  </a:cubicBezTo>
                  <a:cubicBezTo>
                    <a:pt x="190" y="393"/>
                    <a:pt x="174" y="389"/>
                    <a:pt x="160" y="387"/>
                  </a:cubicBezTo>
                  <a:cubicBezTo>
                    <a:pt x="70" y="375"/>
                    <a:pt x="0" y="293"/>
                    <a:pt x="0" y="19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en-GB" noProof="0" dirty="0"/>
            </a:p>
          </p:txBody>
        </p:sp>
        <p:sp>
          <p:nvSpPr>
            <p:cNvPr id="22" name="Freeform 7">
              <a:extLst>
                <a:ext uri="{FF2B5EF4-FFF2-40B4-BE49-F238E27FC236}">
                  <a16:creationId xmlns:a16="http://schemas.microsoft.com/office/drawing/2014/main" id="{8D36B2D1-BCFE-43FC-8743-7B7A30E1AD5D}"/>
                </a:ext>
              </a:extLst>
            </p:cNvPr>
            <p:cNvSpPr>
              <a:spLocks/>
            </p:cNvSpPr>
            <p:nvPr/>
          </p:nvSpPr>
          <p:spPr bwMode="auto">
            <a:xfrm>
              <a:off x="11728451" y="3071813"/>
              <a:ext cx="306388" cy="719138"/>
            </a:xfrm>
            <a:custGeom>
              <a:avLst/>
              <a:gdLst>
                <a:gd name="T0" fmla="*/ 0 w 72"/>
                <a:gd name="T1" fmla="*/ 84 h 169"/>
                <a:gd name="T2" fmla="*/ 20 w 72"/>
                <a:gd name="T3" fmla="*/ 20 h 169"/>
                <a:gd name="T4" fmla="*/ 42 w 72"/>
                <a:gd name="T5" fmla="*/ 9 h 169"/>
                <a:gd name="T6" fmla="*/ 62 w 72"/>
                <a:gd name="T7" fmla="*/ 44 h 169"/>
                <a:gd name="T8" fmla="*/ 62 w 72"/>
                <a:gd name="T9" fmla="*/ 125 h 169"/>
                <a:gd name="T10" fmla="*/ 43 w 72"/>
                <a:gd name="T11" fmla="*/ 159 h 169"/>
                <a:gd name="T12" fmla="*/ 20 w 72"/>
                <a:gd name="T13" fmla="*/ 148 h 169"/>
                <a:gd name="T14" fmla="*/ 0 w 72"/>
                <a:gd name="T15" fmla="*/ 84 h 16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2" h="169">
                  <a:moveTo>
                    <a:pt x="0" y="84"/>
                  </a:moveTo>
                  <a:cubicBezTo>
                    <a:pt x="2" y="62"/>
                    <a:pt x="6" y="39"/>
                    <a:pt x="20" y="20"/>
                  </a:cubicBezTo>
                  <a:cubicBezTo>
                    <a:pt x="25" y="13"/>
                    <a:pt x="31" y="0"/>
                    <a:pt x="42" y="9"/>
                  </a:cubicBezTo>
                  <a:cubicBezTo>
                    <a:pt x="53" y="18"/>
                    <a:pt x="72" y="25"/>
                    <a:pt x="62" y="44"/>
                  </a:cubicBezTo>
                  <a:cubicBezTo>
                    <a:pt x="47" y="72"/>
                    <a:pt x="47" y="97"/>
                    <a:pt x="62" y="125"/>
                  </a:cubicBezTo>
                  <a:cubicBezTo>
                    <a:pt x="72" y="143"/>
                    <a:pt x="53" y="151"/>
                    <a:pt x="43" y="159"/>
                  </a:cubicBezTo>
                  <a:cubicBezTo>
                    <a:pt x="31" y="169"/>
                    <a:pt x="25" y="156"/>
                    <a:pt x="20" y="148"/>
                  </a:cubicBezTo>
                  <a:cubicBezTo>
                    <a:pt x="6" y="129"/>
                    <a:pt x="2" y="107"/>
                    <a:pt x="0" y="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en-GB" noProof="0" dirty="0"/>
            </a:p>
          </p:txBody>
        </p:sp>
      </p:grpSp>
      <p:sp>
        <p:nvSpPr>
          <p:cNvPr id="7" name="Rectangle 6">
            <a:extLst>
              <a:ext uri="{FF2B5EF4-FFF2-40B4-BE49-F238E27FC236}">
                <a16:creationId xmlns:a16="http://schemas.microsoft.com/office/drawing/2014/main" id="{76627016-BFC4-46D4-89DB-F72E3C3461EC}"/>
              </a:ext>
            </a:extLst>
          </p:cNvPr>
          <p:cNvSpPr/>
          <p:nvPr userDrawn="1"/>
        </p:nvSpPr>
        <p:spPr>
          <a:xfrm rot="10800000">
            <a:off x="515938" y="-16721"/>
            <a:ext cx="1258618" cy="11050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noProof="0" dirty="0">
              <a:solidFill>
                <a:schemeClr val="bg1"/>
              </a:solidFill>
            </a:endParaRPr>
          </a:p>
        </p:txBody>
      </p:sp>
      <p:sp>
        <p:nvSpPr>
          <p:cNvPr id="15" name="Oval 14">
            <a:extLst>
              <a:ext uri="{FF2B5EF4-FFF2-40B4-BE49-F238E27FC236}">
                <a16:creationId xmlns:a16="http://schemas.microsoft.com/office/drawing/2014/main" id="{EF515B4A-CB20-4847-8E00-0DD66F1FEBB4}"/>
              </a:ext>
            </a:extLst>
          </p:cNvPr>
          <p:cNvSpPr/>
          <p:nvPr userDrawn="1"/>
        </p:nvSpPr>
        <p:spPr>
          <a:xfrm>
            <a:off x="11371669" y="6409397"/>
            <a:ext cx="280051" cy="280051"/>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noProof="0" dirty="0"/>
          </a:p>
        </p:txBody>
      </p:sp>
      <p:sp>
        <p:nvSpPr>
          <p:cNvPr id="16" name="Slide Number Placeholder 5">
            <a:extLst>
              <a:ext uri="{FF2B5EF4-FFF2-40B4-BE49-F238E27FC236}">
                <a16:creationId xmlns:a16="http://schemas.microsoft.com/office/drawing/2014/main" id="{996B64B9-1DF0-4EE9-BAB5-72AFA94B9AFD}"/>
              </a:ext>
            </a:extLst>
          </p:cNvPr>
          <p:cNvSpPr>
            <a:spLocks noGrp="1"/>
          </p:cNvSpPr>
          <p:nvPr>
            <p:ph type="sldNum" sz="quarter" idx="12"/>
          </p:nvPr>
        </p:nvSpPr>
        <p:spPr>
          <a:xfrm>
            <a:off x="11363696" y="6455739"/>
            <a:ext cx="294460" cy="187367"/>
          </a:xfrm>
        </p:spPr>
        <p:txBody>
          <a:bodyPr lIns="0" tIns="0" rIns="0" bIns="0" rtlCol="0"/>
          <a:lstStyle>
            <a:lvl1pPr algn="ctr">
              <a:defRPr sz="900">
                <a:solidFill>
                  <a:schemeClr val="bg1"/>
                </a:solidFill>
                <a:latin typeface="+mn-lt"/>
              </a:defRPr>
            </a:lvl1pPr>
          </a:lstStyle>
          <a:p>
            <a:pPr rtl="0"/>
            <a:fld id="{9EC71654-96A5-4280-94F3-931C61A9F92C}" type="slidenum">
              <a:rPr lang="en-GB" noProof="0" smtClean="0"/>
              <a:pPr/>
              <a:t>‹#›</a:t>
            </a:fld>
            <a:endParaRPr lang="en-GB" noProof="0" dirty="0"/>
          </a:p>
        </p:txBody>
      </p:sp>
      <p:sp>
        <p:nvSpPr>
          <p:cNvPr id="14" name="Content Placeholder 2">
            <a:extLst>
              <a:ext uri="{FF2B5EF4-FFF2-40B4-BE49-F238E27FC236}">
                <a16:creationId xmlns:a16="http://schemas.microsoft.com/office/drawing/2014/main" id="{079DA8F4-EDD3-4D62-A90B-8C3C1AFB0083}"/>
              </a:ext>
            </a:extLst>
          </p:cNvPr>
          <p:cNvSpPr>
            <a:spLocks noGrp="1"/>
          </p:cNvSpPr>
          <p:nvPr>
            <p:ph sz="half" idx="1"/>
          </p:nvPr>
        </p:nvSpPr>
        <p:spPr>
          <a:xfrm>
            <a:off x="515938" y="1825625"/>
            <a:ext cx="5503862" cy="4351338"/>
          </a:xfrm>
        </p:spPr>
        <p:txBody>
          <a:bodyPr rtlCol="0"/>
          <a:lstStyle/>
          <a:p>
            <a:pPr lvl="0" rtl="0"/>
            <a:r>
              <a:rPr lang="en-US" noProof="0"/>
              <a:t>Click to edit Master text styles</a:t>
            </a:r>
          </a:p>
          <a:p>
            <a:pPr lvl="1" rtl="0"/>
            <a:r>
              <a:rPr lang="en-US" noProof="0"/>
              <a:t>Second level</a:t>
            </a:r>
          </a:p>
          <a:p>
            <a:pPr lvl="2" rtl="0"/>
            <a:r>
              <a:rPr lang="en-US" noProof="0"/>
              <a:t>Third level</a:t>
            </a:r>
          </a:p>
          <a:p>
            <a:pPr lvl="3" rtl="0"/>
            <a:r>
              <a:rPr lang="en-US" noProof="0"/>
              <a:t>Fourth level</a:t>
            </a:r>
          </a:p>
          <a:p>
            <a:pPr lvl="4" rtl="0"/>
            <a:r>
              <a:rPr lang="en-US" noProof="0"/>
              <a:t>Fifth level</a:t>
            </a:r>
            <a:endParaRPr lang="en-GB" noProof="0" dirty="0"/>
          </a:p>
        </p:txBody>
      </p:sp>
      <p:sp>
        <p:nvSpPr>
          <p:cNvPr id="17" name="Content Placeholder 3">
            <a:extLst>
              <a:ext uri="{FF2B5EF4-FFF2-40B4-BE49-F238E27FC236}">
                <a16:creationId xmlns:a16="http://schemas.microsoft.com/office/drawing/2014/main" id="{DA0DA994-B4A9-447A-BEBF-3EA31D3755A2}"/>
              </a:ext>
            </a:extLst>
          </p:cNvPr>
          <p:cNvSpPr>
            <a:spLocks noGrp="1"/>
          </p:cNvSpPr>
          <p:nvPr>
            <p:ph sz="half" idx="2"/>
          </p:nvPr>
        </p:nvSpPr>
        <p:spPr>
          <a:xfrm>
            <a:off x="6172200" y="1825625"/>
            <a:ext cx="5181600" cy="4351338"/>
          </a:xfrm>
        </p:spPr>
        <p:txBody>
          <a:bodyPr rtlCol="0"/>
          <a:lstStyle/>
          <a:p>
            <a:pPr lvl="0" rtl="0"/>
            <a:r>
              <a:rPr lang="en-US" noProof="0"/>
              <a:t>Click to edit Master text styles</a:t>
            </a:r>
          </a:p>
          <a:p>
            <a:pPr lvl="1" rtl="0"/>
            <a:r>
              <a:rPr lang="en-US" noProof="0"/>
              <a:t>Second level</a:t>
            </a:r>
          </a:p>
          <a:p>
            <a:pPr lvl="2" rtl="0"/>
            <a:r>
              <a:rPr lang="en-US" noProof="0"/>
              <a:t>Third level</a:t>
            </a:r>
          </a:p>
          <a:p>
            <a:pPr lvl="3" rtl="0"/>
            <a:r>
              <a:rPr lang="en-US" noProof="0"/>
              <a:t>Fourth level</a:t>
            </a:r>
          </a:p>
          <a:p>
            <a:pPr lvl="4" rtl="0"/>
            <a:r>
              <a:rPr lang="en-US" noProof="0"/>
              <a:t>Fifth level</a:t>
            </a:r>
            <a:endParaRPr lang="en-GB" noProof="0" dirty="0"/>
          </a:p>
        </p:txBody>
      </p:sp>
      <p:pic>
        <p:nvPicPr>
          <p:cNvPr id="13" name="Picture 12">
            <a:extLst>
              <a:ext uri="{FF2B5EF4-FFF2-40B4-BE49-F238E27FC236}">
                <a16:creationId xmlns:a16="http://schemas.microsoft.com/office/drawing/2014/main" id="{332150F9-14BF-4DCB-884D-49596914C290}"/>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472046" y="6261436"/>
            <a:ext cx="1073019" cy="414000"/>
          </a:xfrm>
          <a:prstGeom prst="rect">
            <a:avLst/>
          </a:prstGeom>
        </p:spPr>
      </p:pic>
      <p:sp>
        <p:nvSpPr>
          <p:cNvPr id="21" name="Title 1">
            <a:extLst>
              <a:ext uri="{FF2B5EF4-FFF2-40B4-BE49-F238E27FC236}">
                <a16:creationId xmlns:a16="http://schemas.microsoft.com/office/drawing/2014/main" id="{19DEF115-82C2-4E9D-A22C-8DA561FB37B8}"/>
              </a:ext>
            </a:extLst>
          </p:cNvPr>
          <p:cNvSpPr>
            <a:spLocks noGrp="1"/>
          </p:cNvSpPr>
          <p:nvPr>
            <p:ph type="title"/>
          </p:nvPr>
        </p:nvSpPr>
        <p:spPr>
          <a:xfrm>
            <a:off x="515938" y="246621"/>
            <a:ext cx="11150600" cy="920336"/>
          </a:xfrm>
        </p:spPr>
        <p:txBody>
          <a:bodyPr lIns="0" tIns="0" rIns="0" bIns="0" rtlCol="0" anchor="b">
            <a:noAutofit/>
          </a:bodyPr>
          <a:lstStyle>
            <a:lvl1pPr>
              <a:defRPr sz="3200" b="1" cap="all" baseline="0"/>
            </a:lvl1pPr>
          </a:lstStyle>
          <a:p>
            <a:pPr rtl="0"/>
            <a:r>
              <a:rPr lang="en-US" noProof="0"/>
              <a:t>Click to edit Master title style</a:t>
            </a:r>
            <a:endParaRPr lang="en-GB" noProof="0" dirty="0"/>
          </a:p>
        </p:txBody>
      </p:sp>
    </p:spTree>
    <p:extLst>
      <p:ext uri="{BB962C8B-B14F-4D97-AF65-F5344CB8AC3E}">
        <p14:creationId xmlns:p14="http://schemas.microsoft.com/office/powerpoint/2010/main" val="209293422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grpSp>
        <p:nvGrpSpPr>
          <p:cNvPr id="20" name="Group 19">
            <a:extLst>
              <a:ext uri="{FF2B5EF4-FFF2-40B4-BE49-F238E27FC236}">
                <a16:creationId xmlns:a16="http://schemas.microsoft.com/office/drawing/2014/main" id="{616F52B4-215E-4237-893C-E22B23804744}"/>
              </a:ext>
            </a:extLst>
          </p:cNvPr>
          <p:cNvGrpSpPr/>
          <p:nvPr userDrawn="1"/>
        </p:nvGrpSpPr>
        <p:grpSpPr>
          <a:xfrm rot="8650774" flipH="1" flipV="1">
            <a:off x="7430044" y="-1843126"/>
            <a:ext cx="4436224" cy="5482435"/>
            <a:chOff x="11114088" y="2241550"/>
            <a:chExt cx="1905000" cy="2354263"/>
          </a:xfrm>
          <a:solidFill>
            <a:schemeClr val="bg2">
              <a:alpha val="53000"/>
            </a:schemeClr>
          </a:solidFill>
        </p:grpSpPr>
        <p:sp>
          <p:nvSpPr>
            <p:cNvPr id="22" name="Freeform 5">
              <a:extLst>
                <a:ext uri="{FF2B5EF4-FFF2-40B4-BE49-F238E27FC236}">
                  <a16:creationId xmlns:a16="http://schemas.microsoft.com/office/drawing/2014/main" id="{B7C40C77-B795-4B07-B92D-2E8A56635773}"/>
                </a:ext>
              </a:extLst>
            </p:cNvPr>
            <p:cNvSpPr>
              <a:spLocks/>
            </p:cNvSpPr>
            <p:nvPr/>
          </p:nvSpPr>
          <p:spPr bwMode="auto">
            <a:xfrm>
              <a:off x="11114088" y="2241550"/>
              <a:ext cx="1905000" cy="2354263"/>
            </a:xfrm>
            <a:custGeom>
              <a:avLst/>
              <a:gdLst>
                <a:gd name="T0" fmla="*/ 0 w 447"/>
                <a:gd name="T1" fmla="*/ 264 h 553"/>
                <a:gd name="T2" fmla="*/ 141 w 447"/>
                <a:gd name="T3" fmla="*/ 48 h 553"/>
                <a:gd name="T4" fmla="*/ 414 w 447"/>
                <a:gd name="T5" fmla="*/ 67 h 553"/>
                <a:gd name="T6" fmla="*/ 438 w 447"/>
                <a:gd name="T7" fmla="*/ 98 h 553"/>
                <a:gd name="T8" fmla="*/ 391 w 447"/>
                <a:gd name="T9" fmla="*/ 111 h 553"/>
                <a:gd name="T10" fmla="*/ 94 w 447"/>
                <a:gd name="T11" fmla="*/ 149 h 553"/>
                <a:gd name="T12" fmla="*/ 107 w 447"/>
                <a:gd name="T13" fmla="*/ 424 h 553"/>
                <a:gd name="T14" fmla="*/ 383 w 447"/>
                <a:gd name="T15" fmla="*/ 453 h 553"/>
                <a:gd name="T16" fmla="*/ 393 w 447"/>
                <a:gd name="T17" fmla="*/ 446 h 553"/>
                <a:gd name="T18" fmla="*/ 433 w 447"/>
                <a:gd name="T19" fmla="*/ 449 h 553"/>
                <a:gd name="T20" fmla="*/ 421 w 447"/>
                <a:gd name="T21" fmla="*/ 485 h 553"/>
                <a:gd name="T22" fmla="*/ 194 w 447"/>
                <a:gd name="T23" fmla="*/ 531 h 553"/>
                <a:gd name="T24" fmla="*/ 0 w 447"/>
                <a:gd name="T25" fmla="*/ 264 h 5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7" h="553">
                  <a:moveTo>
                    <a:pt x="0" y="264"/>
                  </a:moveTo>
                  <a:cubicBezTo>
                    <a:pt x="5" y="176"/>
                    <a:pt x="49" y="96"/>
                    <a:pt x="141" y="48"/>
                  </a:cubicBezTo>
                  <a:cubicBezTo>
                    <a:pt x="235" y="0"/>
                    <a:pt x="327" y="9"/>
                    <a:pt x="414" y="67"/>
                  </a:cubicBezTo>
                  <a:cubicBezTo>
                    <a:pt x="425" y="75"/>
                    <a:pt x="439" y="82"/>
                    <a:pt x="438" y="98"/>
                  </a:cubicBezTo>
                  <a:cubicBezTo>
                    <a:pt x="437" y="120"/>
                    <a:pt x="413" y="127"/>
                    <a:pt x="391" y="111"/>
                  </a:cubicBezTo>
                  <a:cubicBezTo>
                    <a:pt x="294" y="40"/>
                    <a:pt x="166" y="56"/>
                    <a:pt x="94" y="149"/>
                  </a:cubicBezTo>
                  <a:cubicBezTo>
                    <a:pt x="30" y="231"/>
                    <a:pt x="36" y="349"/>
                    <a:pt x="107" y="424"/>
                  </a:cubicBezTo>
                  <a:cubicBezTo>
                    <a:pt x="180" y="502"/>
                    <a:pt x="296" y="514"/>
                    <a:pt x="383" y="453"/>
                  </a:cubicBezTo>
                  <a:cubicBezTo>
                    <a:pt x="386" y="451"/>
                    <a:pt x="390" y="449"/>
                    <a:pt x="393" y="446"/>
                  </a:cubicBezTo>
                  <a:cubicBezTo>
                    <a:pt x="407" y="433"/>
                    <a:pt x="420" y="433"/>
                    <a:pt x="433" y="449"/>
                  </a:cubicBezTo>
                  <a:cubicBezTo>
                    <a:pt x="447" y="467"/>
                    <a:pt x="433" y="477"/>
                    <a:pt x="421" y="485"/>
                  </a:cubicBezTo>
                  <a:cubicBezTo>
                    <a:pt x="353" y="537"/>
                    <a:pt x="277" y="553"/>
                    <a:pt x="194" y="531"/>
                  </a:cubicBezTo>
                  <a:cubicBezTo>
                    <a:pt x="79" y="501"/>
                    <a:pt x="1" y="397"/>
                    <a:pt x="0" y="26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en-GB" noProof="0" dirty="0"/>
            </a:p>
          </p:txBody>
        </p:sp>
        <p:sp>
          <p:nvSpPr>
            <p:cNvPr id="23" name="Freeform 6">
              <a:extLst>
                <a:ext uri="{FF2B5EF4-FFF2-40B4-BE49-F238E27FC236}">
                  <a16:creationId xmlns:a16="http://schemas.microsoft.com/office/drawing/2014/main" id="{6E703A1E-5F10-4BB5-9D52-77CB6F5994C0}"/>
                </a:ext>
              </a:extLst>
            </p:cNvPr>
            <p:cNvSpPr>
              <a:spLocks/>
            </p:cNvSpPr>
            <p:nvPr/>
          </p:nvSpPr>
          <p:spPr bwMode="auto">
            <a:xfrm>
              <a:off x="11412538" y="2590800"/>
              <a:ext cx="835025" cy="1673225"/>
            </a:xfrm>
            <a:custGeom>
              <a:avLst/>
              <a:gdLst>
                <a:gd name="T0" fmla="*/ 0 w 196"/>
                <a:gd name="T1" fmla="*/ 198 h 393"/>
                <a:gd name="T2" fmla="*/ 157 w 196"/>
                <a:gd name="T3" fmla="*/ 8 h 393"/>
                <a:gd name="T4" fmla="*/ 192 w 196"/>
                <a:gd name="T5" fmla="*/ 22 h 393"/>
                <a:gd name="T6" fmla="*/ 167 w 196"/>
                <a:gd name="T7" fmla="*/ 56 h 393"/>
                <a:gd name="T8" fmla="*/ 48 w 196"/>
                <a:gd name="T9" fmla="*/ 198 h 393"/>
                <a:gd name="T10" fmla="*/ 170 w 196"/>
                <a:gd name="T11" fmla="*/ 339 h 393"/>
                <a:gd name="T12" fmla="*/ 193 w 196"/>
                <a:gd name="T13" fmla="*/ 372 h 393"/>
                <a:gd name="T14" fmla="*/ 160 w 196"/>
                <a:gd name="T15" fmla="*/ 387 h 393"/>
                <a:gd name="T16" fmla="*/ 0 w 196"/>
                <a:gd name="T17" fmla="*/ 198 h 3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6" h="393">
                  <a:moveTo>
                    <a:pt x="0" y="198"/>
                  </a:moveTo>
                  <a:cubicBezTo>
                    <a:pt x="0" y="103"/>
                    <a:pt x="64" y="26"/>
                    <a:pt x="157" y="8"/>
                  </a:cubicBezTo>
                  <a:cubicBezTo>
                    <a:pt x="171" y="6"/>
                    <a:pt x="188" y="0"/>
                    <a:pt x="192" y="22"/>
                  </a:cubicBezTo>
                  <a:cubicBezTo>
                    <a:pt x="196" y="41"/>
                    <a:pt x="190" y="52"/>
                    <a:pt x="167" y="56"/>
                  </a:cubicBezTo>
                  <a:cubicBezTo>
                    <a:pt x="95" y="70"/>
                    <a:pt x="47" y="129"/>
                    <a:pt x="48" y="198"/>
                  </a:cubicBezTo>
                  <a:cubicBezTo>
                    <a:pt x="48" y="267"/>
                    <a:pt x="97" y="325"/>
                    <a:pt x="170" y="339"/>
                  </a:cubicBezTo>
                  <a:cubicBezTo>
                    <a:pt x="191" y="343"/>
                    <a:pt x="195" y="354"/>
                    <a:pt x="193" y="372"/>
                  </a:cubicBezTo>
                  <a:cubicBezTo>
                    <a:pt x="190" y="393"/>
                    <a:pt x="174" y="389"/>
                    <a:pt x="160" y="387"/>
                  </a:cubicBezTo>
                  <a:cubicBezTo>
                    <a:pt x="70" y="375"/>
                    <a:pt x="0" y="293"/>
                    <a:pt x="0" y="19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en-GB" noProof="0" dirty="0"/>
            </a:p>
          </p:txBody>
        </p:sp>
        <p:sp>
          <p:nvSpPr>
            <p:cNvPr id="24" name="Freeform 7">
              <a:extLst>
                <a:ext uri="{FF2B5EF4-FFF2-40B4-BE49-F238E27FC236}">
                  <a16:creationId xmlns:a16="http://schemas.microsoft.com/office/drawing/2014/main" id="{22CEE04C-09CE-41CF-937D-EC2D3C23ECC6}"/>
                </a:ext>
              </a:extLst>
            </p:cNvPr>
            <p:cNvSpPr>
              <a:spLocks/>
            </p:cNvSpPr>
            <p:nvPr/>
          </p:nvSpPr>
          <p:spPr bwMode="auto">
            <a:xfrm>
              <a:off x="11728451" y="3071813"/>
              <a:ext cx="306388" cy="719138"/>
            </a:xfrm>
            <a:custGeom>
              <a:avLst/>
              <a:gdLst>
                <a:gd name="T0" fmla="*/ 0 w 72"/>
                <a:gd name="T1" fmla="*/ 84 h 169"/>
                <a:gd name="T2" fmla="*/ 20 w 72"/>
                <a:gd name="T3" fmla="*/ 20 h 169"/>
                <a:gd name="T4" fmla="*/ 42 w 72"/>
                <a:gd name="T5" fmla="*/ 9 h 169"/>
                <a:gd name="T6" fmla="*/ 62 w 72"/>
                <a:gd name="T7" fmla="*/ 44 h 169"/>
                <a:gd name="T8" fmla="*/ 62 w 72"/>
                <a:gd name="T9" fmla="*/ 125 h 169"/>
                <a:gd name="T10" fmla="*/ 43 w 72"/>
                <a:gd name="T11" fmla="*/ 159 h 169"/>
                <a:gd name="T12" fmla="*/ 20 w 72"/>
                <a:gd name="T13" fmla="*/ 148 h 169"/>
                <a:gd name="T14" fmla="*/ 0 w 72"/>
                <a:gd name="T15" fmla="*/ 84 h 16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2" h="169">
                  <a:moveTo>
                    <a:pt x="0" y="84"/>
                  </a:moveTo>
                  <a:cubicBezTo>
                    <a:pt x="2" y="62"/>
                    <a:pt x="6" y="39"/>
                    <a:pt x="20" y="20"/>
                  </a:cubicBezTo>
                  <a:cubicBezTo>
                    <a:pt x="25" y="13"/>
                    <a:pt x="31" y="0"/>
                    <a:pt x="42" y="9"/>
                  </a:cubicBezTo>
                  <a:cubicBezTo>
                    <a:pt x="53" y="18"/>
                    <a:pt x="72" y="25"/>
                    <a:pt x="62" y="44"/>
                  </a:cubicBezTo>
                  <a:cubicBezTo>
                    <a:pt x="47" y="72"/>
                    <a:pt x="47" y="97"/>
                    <a:pt x="62" y="125"/>
                  </a:cubicBezTo>
                  <a:cubicBezTo>
                    <a:pt x="72" y="143"/>
                    <a:pt x="53" y="151"/>
                    <a:pt x="43" y="159"/>
                  </a:cubicBezTo>
                  <a:cubicBezTo>
                    <a:pt x="31" y="169"/>
                    <a:pt x="25" y="156"/>
                    <a:pt x="20" y="148"/>
                  </a:cubicBezTo>
                  <a:cubicBezTo>
                    <a:pt x="6" y="129"/>
                    <a:pt x="2" y="107"/>
                    <a:pt x="0" y="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en-GB" noProof="0" dirty="0"/>
            </a:p>
          </p:txBody>
        </p:sp>
      </p:grpSp>
      <p:sp>
        <p:nvSpPr>
          <p:cNvPr id="7" name="Rectangle 6">
            <a:extLst>
              <a:ext uri="{FF2B5EF4-FFF2-40B4-BE49-F238E27FC236}">
                <a16:creationId xmlns:a16="http://schemas.microsoft.com/office/drawing/2014/main" id="{76627016-BFC4-46D4-89DB-F72E3C3461EC}"/>
              </a:ext>
            </a:extLst>
          </p:cNvPr>
          <p:cNvSpPr/>
          <p:nvPr userDrawn="1"/>
        </p:nvSpPr>
        <p:spPr>
          <a:xfrm rot="10800000">
            <a:off x="515938" y="-16721"/>
            <a:ext cx="1258618" cy="11050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noProof="0" dirty="0">
              <a:solidFill>
                <a:schemeClr val="bg1"/>
              </a:solidFill>
            </a:endParaRPr>
          </a:p>
        </p:txBody>
      </p:sp>
      <p:sp>
        <p:nvSpPr>
          <p:cNvPr id="15" name="Oval 14">
            <a:extLst>
              <a:ext uri="{FF2B5EF4-FFF2-40B4-BE49-F238E27FC236}">
                <a16:creationId xmlns:a16="http://schemas.microsoft.com/office/drawing/2014/main" id="{EF515B4A-CB20-4847-8E00-0DD66F1FEBB4}"/>
              </a:ext>
            </a:extLst>
          </p:cNvPr>
          <p:cNvSpPr/>
          <p:nvPr userDrawn="1"/>
        </p:nvSpPr>
        <p:spPr>
          <a:xfrm>
            <a:off x="11371669" y="6409397"/>
            <a:ext cx="280051" cy="280051"/>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noProof="0" dirty="0"/>
          </a:p>
        </p:txBody>
      </p:sp>
      <p:sp>
        <p:nvSpPr>
          <p:cNvPr id="16" name="Slide Number Placeholder 5">
            <a:extLst>
              <a:ext uri="{FF2B5EF4-FFF2-40B4-BE49-F238E27FC236}">
                <a16:creationId xmlns:a16="http://schemas.microsoft.com/office/drawing/2014/main" id="{996B64B9-1DF0-4EE9-BAB5-72AFA94B9AFD}"/>
              </a:ext>
            </a:extLst>
          </p:cNvPr>
          <p:cNvSpPr>
            <a:spLocks noGrp="1"/>
          </p:cNvSpPr>
          <p:nvPr>
            <p:ph type="sldNum" sz="quarter" idx="12"/>
          </p:nvPr>
        </p:nvSpPr>
        <p:spPr>
          <a:xfrm>
            <a:off x="11363696" y="6455739"/>
            <a:ext cx="294460" cy="187367"/>
          </a:xfrm>
        </p:spPr>
        <p:txBody>
          <a:bodyPr lIns="0" tIns="0" rIns="0" bIns="0" rtlCol="0"/>
          <a:lstStyle>
            <a:lvl1pPr algn="ctr">
              <a:defRPr sz="900">
                <a:solidFill>
                  <a:schemeClr val="bg1"/>
                </a:solidFill>
                <a:latin typeface="+mn-lt"/>
              </a:defRPr>
            </a:lvl1pPr>
          </a:lstStyle>
          <a:p>
            <a:pPr rtl="0"/>
            <a:fld id="{9EC71654-96A5-4280-94F3-931C61A9F92C}" type="slidenum">
              <a:rPr lang="en-GB" noProof="0" smtClean="0"/>
              <a:pPr/>
              <a:t>‹#›</a:t>
            </a:fld>
            <a:endParaRPr lang="en-GB" noProof="0" dirty="0"/>
          </a:p>
        </p:txBody>
      </p:sp>
      <p:sp>
        <p:nvSpPr>
          <p:cNvPr id="14" name="Text Placeholder 2">
            <a:extLst>
              <a:ext uri="{FF2B5EF4-FFF2-40B4-BE49-F238E27FC236}">
                <a16:creationId xmlns:a16="http://schemas.microsoft.com/office/drawing/2014/main" id="{774CF4BA-8DCB-42CF-A2C4-D6AF95EE3F54}"/>
              </a:ext>
            </a:extLst>
          </p:cNvPr>
          <p:cNvSpPr>
            <a:spLocks noGrp="1"/>
          </p:cNvSpPr>
          <p:nvPr>
            <p:ph type="body" idx="1"/>
          </p:nvPr>
        </p:nvSpPr>
        <p:spPr>
          <a:xfrm>
            <a:off x="515938" y="1681163"/>
            <a:ext cx="5157787" cy="823912"/>
          </a:xfrm>
        </p:spPr>
        <p:txBody>
          <a:bodyPr rtlCol="0" anchor="b"/>
          <a:lstStyle>
            <a:lvl1pPr marL="0" indent="0">
              <a:buNone/>
              <a:defRPr sz="24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rtl="0"/>
            <a:r>
              <a:rPr lang="en-US" noProof="0"/>
              <a:t>Click to edit Master text styles</a:t>
            </a:r>
          </a:p>
        </p:txBody>
      </p:sp>
      <p:sp>
        <p:nvSpPr>
          <p:cNvPr id="17" name="Content Placeholder 3">
            <a:extLst>
              <a:ext uri="{FF2B5EF4-FFF2-40B4-BE49-F238E27FC236}">
                <a16:creationId xmlns:a16="http://schemas.microsoft.com/office/drawing/2014/main" id="{67BA8B6E-A28D-4658-8C91-6CA7BD539B85}"/>
              </a:ext>
            </a:extLst>
          </p:cNvPr>
          <p:cNvSpPr>
            <a:spLocks noGrp="1"/>
          </p:cNvSpPr>
          <p:nvPr>
            <p:ph sz="half" idx="2"/>
          </p:nvPr>
        </p:nvSpPr>
        <p:spPr>
          <a:xfrm>
            <a:off x="515938" y="2505075"/>
            <a:ext cx="5157787" cy="3684588"/>
          </a:xfrm>
        </p:spPr>
        <p:txBody>
          <a:bodyPr rtlCol="0"/>
          <a:lstStyle/>
          <a:p>
            <a:pPr lvl="0" rtl="0"/>
            <a:r>
              <a:rPr lang="en-US" noProof="0"/>
              <a:t>Click to edit Master text styles</a:t>
            </a:r>
          </a:p>
          <a:p>
            <a:pPr lvl="1" rtl="0"/>
            <a:r>
              <a:rPr lang="en-US" noProof="0"/>
              <a:t>Second level</a:t>
            </a:r>
          </a:p>
          <a:p>
            <a:pPr lvl="2" rtl="0"/>
            <a:r>
              <a:rPr lang="en-US" noProof="0"/>
              <a:t>Third level</a:t>
            </a:r>
          </a:p>
          <a:p>
            <a:pPr lvl="3" rtl="0"/>
            <a:r>
              <a:rPr lang="en-US" noProof="0"/>
              <a:t>Fourth level</a:t>
            </a:r>
          </a:p>
          <a:p>
            <a:pPr lvl="4" rtl="0"/>
            <a:r>
              <a:rPr lang="en-US" noProof="0"/>
              <a:t>Fifth level</a:t>
            </a:r>
            <a:endParaRPr lang="en-GB" noProof="0" dirty="0"/>
          </a:p>
        </p:txBody>
      </p:sp>
      <p:sp>
        <p:nvSpPr>
          <p:cNvPr id="18" name="Text Placeholder 4">
            <a:extLst>
              <a:ext uri="{FF2B5EF4-FFF2-40B4-BE49-F238E27FC236}">
                <a16:creationId xmlns:a16="http://schemas.microsoft.com/office/drawing/2014/main" id="{F73B3215-82DB-4DBF-9E77-3AE2308C6920}"/>
              </a:ext>
            </a:extLst>
          </p:cNvPr>
          <p:cNvSpPr>
            <a:spLocks noGrp="1"/>
          </p:cNvSpPr>
          <p:nvPr>
            <p:ph type="body" sz="quarter" idx="3"/>
          </p:nvPr>
        </p:nvSpPr>
        <p:spPr>
          <a:xfrm>
            <a:off x="6172200" y="1681163"/>
            <a:ext cx="5183188" cy="823912"/>
          </a:xfrm>
        </p:spPr>
        <p:txBody>
          <a:bodyPr rtlCol="0" anchor="b"/>
          <a:lstStyle>
            <a:lvl1pPr marL="0" indent="0">
              <a:buNone/>
              <a:defRPr sz="2400" b="1">
                <a:solidFill>
                  <a:schemeClr val="accent5"/>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rtl="0"/>
            <a:r>
              <a:rPr lang="en-US" noProof="0"/>
              <a:t>Click to edit Master text styles</a:t>
            </a:r>
          </a:p>
        </p:txBody>
      </p:sp>
      <p:sp>
        <p:nvSpPr>
          <p:cNvPr id="19" name="Content Placeholder 5">
            <a:extLst>
              <a:ext uri="{FF2B5EF4-FFF2-40B4-BE49-F238E27FC236}">
                <a16:creationId xmlns:a16="http://schemas.microsoft.com/office/drawing/2014/main" id="{8DFD34E8-36CC-4FFE-926B-C170208FEDB8}"/>
              </a:ext>
            </a:extLst>
          </p:cNvPr>
          <p:cNvSpPr>
            <a:spLocks noGrp="1"/>
          </p:cNvSpPr>
          <p:nvPr>
            <p:ph sz="quarter" idx="4"/>
          </p:nvPr>
        </p:nvSpPr>
        <p:spPr>
          <a:xfrm>
            <a:off x="6172200" y="2505075"/>
            <a:ext cx="5183188" cy="3684588"/>
          </a:xfrm>
        </p:spPr>
        <p:txBody>
          <a:bodyPr rtlCol="0"/>
          <a:lstStyle/>
          <a:p>
            <a:pPr lvl="0" rtl="0"/>
            <a:r>
              <a:rPr lang="en-US" noProof="0"/>
              <a:t>Click to edit Master text styles</a:t>
            </a:r>
          </a:p>
          <a:p>
            <a:pPr lvl="1" rtl="0"/>
            <a:r>
              <a:rPr lang="en-US" noProof="0"/>
              <a:t>Second level</a:t>
            </a:r>
          </a:p>
          <a:p>
            <a:pPr lvl="2" rtl="0"/>
            <a:r>
              <a:rPr lang="en-US" noProof="0"/>
              <a:t>Third level</a:t>
            </a:r>
          </a:p>
          <a:p>
            <a:pPr lvl="3" rtl="0"/>
            <a:r>
              <a:rPr lang="en-US" noProof="0"/>
              <a:t>Fourth level</a:t>
            </a:r>
          </a:p>
          <a:p>
            <a:pPr lvl="4" rtl="0"/>
            <a:r>
              <a:rPr lang="en-US" noProof="0"/>
              <a:t>Fifth level</a:t>
            </a:r>
            <a:endParaRPr lang="en-GB" noProof="0" dirty="0"/>
          </a:p>
        </p:txBody>
      </p:sp>
      <p:pic>
        <p:nvPicPr>
          <p:cNvPr id="21" name="Picture 20">
            <a:extLst>
              <a:ext uri="{FF2B5EF4-FFF2-40B4-BE49-F238E27FC236}">
                <a16:creationId xmlns:a16="http://schemas.microsoft.com/office/drawing/2014/main" id="{03383C6B-3BE4-4380-AF26-1C21492FCE8A}"/>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472046" y="6261436"/>
            <a:ext cx="1073019" cy="414000"/>
          </a:xfrm>
          <a:prstGeom prst="rect">
            <a:avLst/>
          </a:prstGeom>
        </p:spPr>
      </p:pic>
      <p:sp>
        <p:nvSpPr>
          <p:cNvPr id="25" name="Title 1">
            <a:extLst>
              <a:ext uri="{FF2B5EF4-FFF2-40B4-BE49-F238E27FC236}">
                <a16:creationId xmlns:a16="http://schemas.microsoft.com/office/drawing/2014/main" id="{AE3770E9-CB74-47B0-8229-91F6F756015E}"/>
              </a:ext>
            </a:extLst>
          </p:cNvPr>
          <p:cNvSpPr>
            <a:spLocks noGrp="1"/>
          </p:cNvSpPr>
          <p:nvPr>
            <p:ph type="title"/>
          </p:nvPr>
        </p:nvSpPr>
        <p:spPr>
          <a:xfrm>
            <a:off x="515938" y="246621"/>
            <a:ext cx="11150600" cy="920336"/>
          </a:xfrm>
        </p:spPr>
        <p:txBody>
          <a:bodyPr lIns="0" tIns="0" rIns="0" bIns="0" rtlCol="0" anchor="b">
            <a:noAutofit/>
          </a:bodyPr>
          <a:lstStyle>
            <a:lvl1pPr>
              <a:defRPr sz="3200" b="1" cap="all" baseline="0"/>
            </a:lvl1pPr>
          </a:lstStyle>
          <a:p>
            <a:pPr rtl="0"/>
            <a:r>
              <a:rPr lang="en-US" noProof="0"/>
              <a:t>Click to edit Master title style</a:t>
            </a:r>
            <a:endParaRPr lang="en-GB" noProof="0" dirty="0"/>
          </a:p>
        </p:txBody>
      </p:sp>
    </p:spTree>
    <p:extLst>
      <p:ext uri="{BB962C8B-B14F-4D97-AF65-F5344CB8AC3E}">
        <p14:creationId xmlns:p14="http://schemas.microsoft.com/office/powerpoint/2010/main" val="246179461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Picture with Caption">
    <p:spTree>
      <p:nvGrpSpPr>
        <p:cNvPr id="1" name=""/>
        <p:cNvGrpSpPr/>
        <p:nvPr/>
      </p:nvGrpSpPr>
      <p:grpSpPr>
        <a:xfrm>
          <a:off x="0" y="0"/>
          <a:ext cx="0" cy="0"/>
          <a:chOff x="0" y="0"/>
          <a:chExt cx="0" cy="0"/>
        </a:xfrm>
      </p:grpSpPr>
      <p:sp>
        <p:nvSpPr>
          <p:cNvPr id="22" name="Picture Placeholder 21">
            <a:extLst>
              <a:ext uri="{FF2B5EF4-FFF2-40B4-BE49-F238E27FC236}">
                <a16:creationId xmlns:a16="http://schemas.microsoft.com/office/drawing/2014/main" id="{C57825D7-DD33-4B70-BBBE-D46E7A5352EC}"/>
              </a:ext>
            </a:extLst>
          </p:cNvPr>
          <p:cNvSpPr>
            <a:spLocks noGrp="1"/>
          </p:cNvSpPr>
          <p:nvPr>
            <p:ph type="pic" idx="1"/>
          </p:nvPr>
        </p:nvSpPr>
        <p:spPr>
          <a:xfrm>
            <a:off x="6096000" y="768485"/>
            <a:ext cx="5305662" cy="5305662"/>
          </a:xfrm>
          <a:custGeom>
            <a:avLst/>
            <a:gdLst>
              <a:gd name="connsiteX0" fmla="*/ 2652831 w 5305662"/>
              <a:gd name="connsiteY0" fmla="*/ 0 h 5305662"/>
              <a:gd name="connsiteX1" fmla="*/ 5305662 w 5305662"/>
              <a:gd name="connsiteY1" fmla="*/ 2652831 h 5305662"/>
              <a:gd name="connsiteX2" fmla="*/ 2652831 w 5305662"/>
              <a:gd name="connsiteY2" fmla="*/ 5305662 h 5305662"/>
              <a:gd name="connsiteX3" fmla="*/ 0 w 5305662"/>
              <a:gd name="connsiteY3" fmla="*/ 2652831 h 5305662"/>
              <a:gd name="connsiteX4" fmla="*/ 2652831 w 5305662"/>
              <a:gd name="connsiteY4" fmla="*/ 0 h 53056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05662" h="5305662">
                <a:moveTo>
                  <a:pt x="2652831" y="0"/>
                </a:moveTo>
                <a:cubicBezTo>
                  <a:pt x="4117949" y="0"/>
                  <a:pt x="5305662" y="1187713"/>
                  <a:pt x="5305662" y="2652831"/>
                </a:cubicBezTo>
                <a:cubicBezTo>
                  <a:pt x="5305662" y="4117949"/>
                  <a:pt x="4117949" y="5305662"/>
                  <a:pt x="2652831" y="5305662"/>
                </a:cubicBezTo>
                <a:cubicBezTo>
                  <a:pt x="1187713" y="5305662"/>
                  <a:pt x="0" y="4117949"/>
                  <a:pt x="0" y="2652831"/>
                </a:cubicBezTo>
                <a:cubicBezTo>
                  <a:pt x="0" y="1187713"/>
                  <a:pt x="1187713" y="0"/>
                  <a:pt x="2652831" y="0"/>
                </a:cubicBezTo>
                <a:close/>
              </a:path>
            </a:pathLst>
          </a:custGeom>
          <a:solidFill>
            <a:schemeClr val="bg2"/>
          </a:solidFill>
        </p:spPr>
        <p:txBody>
          <a:bodyPr wrap="square" rtlCol="0" anchor="ctr">
            <a:noAutofit/>
          </a:bodyPr>
          <a:lstStyle>
            <a:lvl1pPr marL="0" indent="0" algn="ctr">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rtl="0"/>
            <a:r>
              <a:rPr lang="en-US" noProof="0"/>
              <a:t>Click icon to add picture</a:t>
            </a:r>
            <a:endParaRPr lang="en-GB" noProof="0" dirty="0"/>
          </a:p>
        </p:txBody>
      </p:sp>
      <p:grpSp>
        <p:nvGrpSpPr>
          <p:cNvPr id="14" name="Group 13">
            <a:extLst>
              <a:ext uri="{FF2B5EF4-FFF2-40B4-BE49-F238E27FC236}">
                <a16:creationId xmlns:a16="http://schemas.microsoft.com/office/drawing/2014/main" id="{0DC2055F-AE3F-46BE-B57E-A0F1A86D1C36}"/>
              </a:ext>
            </a:extLst>
          </p:cNvPr>
          <p:cNvGrpSpPr/>
          <p:nvPr userDrawn="1"/>
        </p:nvGrpSpPr>
        <p:grpSpPr>
          <a:xfrm flipH="1">
            <a:off x="5400786" y="-2003509"/>
            <a:ext cx="8917229" cy="10769768"/>
            <a:chOff x="11114088" y="2241550"/>
            <a:chExt cx="1905000" cy="2354263"/>
          </a:xfrm>
          <a:solidFill>
            <a:schemeClr val="bg2">
              <a:alpha val="91000"/>
            </a:schemeClr>
          </a:solidFill>
        </p:grpSpPr>
        <p:sp>
          <p:nvSpPr>
            <p:cNvPr id="15" name="Freeform 5">
              <a:extLst>
                <a:ext uri="{FF2B5EF4-FFF2-40B4-BE49-F238E27FC236}">
                  <a16:creationId xmlns:a16="http://schemas.microsoft.com/office/drawing/2014/main" id="{C98EF042-A3B8-406D-BC16-153A989F571A}"/>
                </a:ext>
              </a:extLst>
            </p:cNvPr>
            <p:cNvSpPr>
              <a:spLocks/>
            </p:cNvSpPr>
            <p:nvPr/>
          </p:nvSpPr>
          <p:spPr bwMode="auto">
            <a:xfrm>
              <a:off x="11114088" y="2241550"/>
              <a:ext cx="1905000" cy="2354263"/>
            </a:xfrm>
            <a:custGeom>
              <a:avLst/>
              <a:gdLst>
                <a:gd name="T0" fmla="*/ 0 w 447"/>
                <a:gd name="T1" fmla="*/ 264 h 553"/>
                <a:gd name="T2" fmla="*/ 141 w 447"/>
                <a:gd name="T3" fmla="*/ 48 h 553"/>
                <a:gd name="T4" fmla="*/ 414 w 447"/>
                <a:gd name="T5" fmla="*/ 67 h 553"/>
                <a:gd name="T6" fmla="*/ 438 w 447"/>
                <a:gd name="T7" fmla="*/ 98 h 553"/>
                <a:gd name="T8" fmla="*/ 391 w 447"/>
                <a:gd name="T9" fmla="*/ 111 h 553"/>
                <a:gd name="T10" fmla="*/ 94 w 447"/>
                <a:gd name="T11" fmla="*/ 149 h 553"/>
                <a:gd name="T12" fmla="*/ 107 w 447"/>
                <a:gd name="T13" fmla="*/ 424 h 553"/>
                <a:gd name="T14" fmla="*/ 383 w 447"/>
                <a:gd name="T15" fmla="*/ 453 h 553"/>
                <a:gd name="T16" fmla="*/ 393 w 447"/>
                <a:gd name="T17" fmla="*/ 446 h 553"/>
                <a:gd name="T18" fmla="*/ 433 w 447"/>
                <a:gd name="T19" fmla="*/ 449 h 553"/>
                <a:gd name="T20" fmla="*/ 421 w 447"/>
                <a:gd name="T21" fmla="*/ 485 h 553"/>
                <a:gd name="T22" fmla="*/ 194 w 447"/>
                <a:gd name="T23" fmla="*/ 531 h 553"/>
                <a:gd name="T24" fmla="*/ 0 w 447"/>
                <a:gd name="T25" fmla="*/ 264 h 5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7" h="553">
                  <a:moveTo>
                    <a:pt x="0" y="264"/>
                  </a:moveTo>
                  <a:cubicBezTo>
                    <a:pt x="5" y="176"/>
                    <a:pt x="49" y="96"/>
                    <a:pt x="141" y="48"/>
                  </a:cubicBezTo>
                  <a:cubicBezTo>
                    <a:pt x="235" y="0"/>
                    <a:pt x="327" y="9"/>
                    <a:pt x="414" y="67"/>
                  </a:cubicBezTo>
                  <a:cubicBezTo>
                    <a:pt x="425" y="75"/>
                    <a:pt x="439" y="82"/>
                    <a:pt x="438" y="98"/>
                  </a:cubicBezTo>
                  <a:cubicBezTo>
                    <a:pt x="437" y="120"/>
                    <a:pt x="413" y="127"/>
                    <a:pt x="391" y="111"/>
                  </a:cubicBezTo>
                  <a:cubicBezTo>
                    <a:pt x="294" y="40"/>
                    <a:pt x="166" y="56"/>
                    <a:pt x="94" y="149"/>
                  </a:cubicBezTo>
                  <a:cubicBezTo>
                    <a:pt x="30" y="231"/>
                    <a:pt x="36" y="349"/>
                    <a:pt x="107" y="424"/>
                  </a:cubicBezTo>
                  <a:cubicBezTo>
                    <a:pt x="180" y="502"/>
                    <a:pt x="296" y="514"/>
                    <a:pt x="383" y="453"/>
                  </a:cubicBezTo>
                  <a:cubicBezTo>
                    <a:pt x="386" y="451"/>
                    <a:pt x="390" y="449"/>
                    <a:pt x="393" y="446"/>
                  </a:cubicBezTo>
                  <a:cubicBezTo>
                    <a:pt x="407" y="433"/>
                    <a:pt x="420" y="433"/>
                    <a:pt x="433" y="449"/>
                  </a:cubicBezTo>
                  <a:cubicBezTo>
                    <a:pt x="447" y="467"/>
                    <a:pt x="433" y="477"/>
                    <a:pt x="421" y="485"/>
                  </a:cubicBezTo>
                  <a:cubicBezTo>
                    <a:pt x="353" y="537"/>
                    <a:pt x="277" y="553"/>
                    <a:pt x="194" y="531"/>
                  </a:cubicBezTo>
                  <a:cubicBezTo>
                    <a:pt x="79" y="501"/>
                    <a:pt x="1" y="397"/>
                    <a:pt x="0" y="26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en-GB" noProof="0" dirty="0"/>
            </a:p>
          </p:txBody>
        </p:sp>
        <p:sp>
          <p:nvSpPr>
            <p:cNvPr id="16" name="Freeform 6">
              <a:extLst>
                <a:ext uri="{FF2B5EF4-FFF2-40B4-BE49-F238E27FC236}">
                  <a16:creationId xmlns:a16="http://schemas.microsoft.com/office/drawing/2014/main" id="{68E5FAC9-A660-4D7A-AC84-0A7C8CC3BB65}"/>
                </a:ext>
              </a:extLst>
            </p:cNvPr>
            <p:cNvSpPr>
              <a:spLocks/>
            </p:cNvSpPr>
            <p:nvPr/>
          </p:nvSpPr>
          <p:spPr bwMode="auto">
            <a:xfrm>
              <a:off x="11412538" y="2590800"/>
              <a:ext cx="835025" cy="1673225"/>
            </a:xfrm>
            <a:custGeom>
              <a:avLst/>
              <a:gdLst>
                <a:gd name="T0" fmla="*/ 0 w 196"/>
                <a:gd name="T1" fmla="*/ 198 h 393"/>
                <a:gd name="T2" fmla="*/ 157 w 196"/>
                <a:gd name="T3" fmla="*/ 8 h 393"/>
                <a:gd name="T4" fmla="*/ 192 w 196"/>
                <a:gd name="T5" fmla="*/ 22 h 393"/>
                <a:gd name="T6" fmla="*/ 167 w 196"/>
                <a:gd name="T7" fmla="*/ 56 h 393"/>
                <a:gd name="T8" fmla="*/ 48 w 196"/>
                <a:gd name="T9" fmla="*/ 198 h 393"/>
                <a:gd name="T10" fmla="*/ 170 w 196"/>
                <a:gd name="T11" fmla="*/ 339 h 393"/>
                <a:gd name="T12" fmla="*/ 193 w 196"/>
                <a:gd name="T13" fmla="*/ 372 h 393"/>
                <a:gd name="T14" fmla="*/ 160 w 196"/>
                <a:gd name="T15" fmla="*/ 387 h 393"/>
                <a:gd name="T16" fmla="*/ 0 w 196"/>
                <a:gd name="T17" fmla="*/ 198 h 3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6" h="393">
                  <a:moveTo>
                    <a:pt x="0" y="198"/>
                  </a:moveTo>
                  <a:cubicBezTo>
                    <a:pt x="0" y="103"/>
                    <a:pt x="64" y="26"/>
                    <a:pt x="157" y="8"/>
                  </a:cubicBezTo>
                  <a:cubicBezTo>
                    <a:pt x="171" y="6"/>
                    <a:pt x="188" y="0"/>
                    <a:pt x="192" y="22"/>
                  </a:cubicBezTo>
                  <a:cubicBezTo>
                    <a:pt x="196" y="41"/>
                    <a:pt x="190" y="52"/>
                    <a:pt x="167" y="56"/>
                  </a:cubicBezTo>
                  <a:cubicBezTo>
                    <a:pt x="95" y="70"/>
                    <a:pt x="47" y="129"/>
                    <a:pt x="48" y="198"/>
                  </a:cubicBezTo>
                  <a:cubicBezTo>
                    <a:pt x="48" y="267"/>
                    <a:pt x="97" y="325"/>
                    <a:pt x="170" y="339"/>
                  </a:cubicBezTo>
                  <a:cubicBezTo>
                    <a:pt x="191" y="343"/>
                    <a:pt x="195" y="354"/>
                    <a:pt x="193" y="372"/>
                  </a:cubicBezTo>
                  <a:cubicBezTo>
                    <a:pt x="190" y="393"/>
                    <a:pt x="174" y="389"/>
                    <a:pt x="160" y="387"/>
                  </a:cubicBezTo>
                  <a:cubicBezTo>
                    <a:pt x="70" y="375"/>
                    <a:pt x="0" y="293"/>
                    <a:pt x="0" y="19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en-GB" noProof="0" dirty="0"/>
            </a:p>
          </p:txBody>
        </p:sp>
      </p:grpSp>
      <p:sp>
        <p:nvSpPr>
          <p:cNvPr id="19" name="Title 1">
            <a:extLst>
              <a:ext uri="{FF2B5EF4-FFF2-40B4-BE49-F238E27FC236}">
                <a16:creationId xmlns:a16="http://schemas.microsoft.com/office/drawing/2014/main" id="{19A1397F-1946-4CBE-9EC5-159C3CBC78B6}"/>
              </a:ext>
            </a:extLst>
          </p:cNvPr>
          <p:cNvSpPr>
            <a:spLocks noGrp="1"/>
          </p:cNvSpPr>
          <p:nvPr>
            <p:ph type="title"/>
          </p:nvPr>
        </p:nvSpPr>
        <p:spPr>
          <a:xfrm>
            <a:off x="839788" y="457200"/>
            <a:ext cx="3932237" cy="1600200"/>
          </a:xfrm>
        </p:spPr>
        <p:txBody>
          <a:bodyPr rtlCol="0" anchor="b"/>
          <a:lstStyle>
            <a:lvl1pPr>
              <a:defRPr sz="3200"/>
            </a:lvl1pPr>
          </a:lstStyle>
          <a:p>
            <a:pPr rtl="0"/>
            <a:r>
              <a:rPr lang="en-US" noProof="0"/>
              <a:t>Click to edit Master title style</a:t>
            </a:r>
            <a:endParaRPr lang="en-GB" noProof="0" dirty="0"/>
          </a:p>
        </p:txBody>
      </p:sp>
      <p:sp>
        <p:nvSpPr>
          <p:cNvPr id="20" name="Text Placeholder 3">
            <a:extLst>
              <a:ext uri="{FF2B5EF4-FFF2-40B4-BE49-F238E27FC236}">
                <a16:creationId xmlns:a16="http://schemas.microsoft.com/office/drawing/2014/main" id="{C535F2AB-153E-44A9-97BE-00553BEC1770}"/>
              </a:ext>
            </a:extLst>
          </p:cNvPr>
          <p:cNvSpPr>
            <a:spLocks noGrp="1"/>
          </p:cNvSpPr>
          <p:nvPr>
            <p:ph type="body" sz="half" idx="2"/>
          </p:nvPr>
        </p:nvSpPr>
        <p:spPr>
          <a:xfrm>
            <a:off x="839788" y="2057400"/>
            <a:ext cx="3932237" cy="3811588"/>
          </a:xfrm>
        </p:spPr>
        <p:txBody>
          <a:bodyPr rtlCol="0"/>
          <a:lstStyle>
            <a:lvl1pPr marL="0" indent="0">
              <a:buFont typeface="Arial" panose="020B0604020202020204" pitchFamily="34" charse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rtl="0"/>
            <a:r>
              <a:rPr lang="en-US" noProof="0"/>
              <a:t>Click to edit Master text styles</a:t>
            </a:r>
          </a:p>
        </p:txBody>
      </p:sp>
      <p:pic>
        <p:nvPicPr>
          <p:cNvPr id="8" name="Picture 7">
            <a:extLst>
              <a:ext uri="{FF2B5EF4-FFF2-40B4-BE49-F238E27FC236}">
                <a16:creationId xmlns:a16="http://schemas.microsoft.com/office/drawing/2014/main" id="{06298D65-1027-4897-A948-DCEEF8FC3D98}"/>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472046" y="6261436"/>
            <a:ext cx="1073019" cy="414000"/>
          </a:xfrm>
          <a:prstGeom prst="rect">
            <a:avLst/>
          </a:prstGeom>
        </p:spPr>
      </p:pic>
    </p:spTree>
    <p:extLst>
      <p:ext uri="{BB962C8B-B14F-4D97-AF65-F5344CB8AC3E}">
        <p14:creationId xmlns:p14="http://schemas.microsoft.com/office/powerpoint/2010/main" val="210718574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Content with Caption">
    <p:spTree>
      <p:nvGrpSpPr>
        <p:cNvPr id="1" name=""/>
        <p:cNvGrpSpPr/>
        <p:nvPr/>
      </p:nvGrpSpPr>
      <p:grpSpPr>
        <a:xfrm>
          <a:off x="0" y="0"/>
          <a:ext cx="0" cy="0"/>
          <a:chOff x="0" y="0"/>
          <a:chExt cx="0" cy="0"/>
        </a:xfrm>
      </p:grpSpPr>
      <p:grpSp>
        <p:nvGrpSpPr>
          <p:cNvPr id="19" name="Group 18">
            <a:extLst>
              <a:ext uri="{FF2B5EF4-FFF2-40B4-BE49-F238E27FC236}">
                <a16:creationId xmlns:a16="http://schemas.microsoft.com/office/drawing/2014/main" id="{9F866E5C-B8AA-4805-B232-831BA01AAF16}"/>
              </a:ext>
            </a:extLst>
          </p:cNvPr>
          <p:cNvGrpSpPr/>
          <p:nvPr userDrawn="1"/>
        </p:nvGrpSpPr>
        <p:grpSpPr>
          <a:xfrm rot="8650774" flipH="1" flipV="1">
            <a:off x="7430044" y="-1843126"/>
            <a:ext cx="4436224" cy="5482435"/>
            <a:chOff x="11114088" y="2241550"/>
            <a:chExt cx="1905000" cy="2354263"/>
          </a:xfrm>
          <a:solidFill>
            <a:schemeClr val="bg2">
              <a:alpha val="53000"/>
            </a:schemeClr>
          </a:solidFill>
        </p:grpSpPr>
        <p:sp>
          <p:nvSpPr>
            <p:cNvPr id="20" name="Freeform 5">
              <a:extLst>
                <a:ext uri="{FF2B5EF4-FFF2-40B4-BE49-F238E27FC236}">
                  <a16:creationId xmlns:a16="http://schemas.microsoft.com/office/drawing/2014/main" id="{F98614F0-2DA3-4F29-8CB3-D61424AC8506}"/>
                </a:ext>
              </a:extLst>
            </p:cNvPr>
            <p:cNvSpPr>
              <a:spLocks/>
            </p:cNvSpPr>
            <p:nvPr/>
          </p:nvSpPr>
          <p:spPr bwMode="auto">
            <a:xfrm>
              <a:off x="11114088" y="2241550"/>
              <a:ext cx="1905000" cy="2354263"/>
            </a:xfrm>
            <a:custGeom>
              <a:avLst/>
              <a:gdLst>
                <a:gd name="T0" fmla="*/ 0 w 447"/>
                <a:gd name="T1" fmla="*/ 264 h 553"/>
                <a:gd name="T2" fmla="*/ 141 w 447"/>
                <a:gd name="T3" fmla="*/ 48 h 553"/>
                <a:gd name="T4" fmla="*/ 414 w 447"/>
                <a:gd name="T5" fmla="*/ 67 h 553"/>
                <a:gd name="T6" fmla="*/ 438 w 447"/>
                <a:gd name="T7" fmla="*/ 98 h 553"/>
                <a:gd name="T8" fmla="*/ 391 w 447"/>
                <a:gd name="T9" fmla="*/ 111 h 553"/>
                <a:gd name="T10" fmla="*/ 94 w 447"/>
                <a:gd name="T11" fmla="*/ 149 h 553"/>
                <a:gd name="T12" fmla="*/ 107 w 447"/>
                <a:gd name="T13" fmla="*/ 424 h 553"/>
                <a:gd name="T14" fmla="*/ 383 w 447"/>
                <a:gd name="T15" fmla="*/ 453 h 553"/>
                <a:gd name="T16" fmla="*/ 393 w 447"/>
                <a:gd name="T17" fmla="*/ 446 h 553"/>
                <a:gd name="T18" fmla="*/ 433 w 447"/>
                <a:gd name="T19" fmla="*/ 449 h 553"/>
                <a:gd name="T20" fmla="*/ 421 w 447"/>
                <a:gd name="T21" fmla="*/ 485 h 553"/>
                <a:gd name="T22" fmla="*/ 194 w 447"/>
                <a:gd name="T23" fmla="*/ 531 h 553"/>
                <a:gd name="T24" fmla="*/ 0 w 447"/>
                <a:gd name="T25" fmla="*/ 264 h 5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7" h="553">
                  <a:moveTo>
                    <a:pt x="0" y="264"/>
                  </a:moveTo>
                  <a:cubicBezTo>
                    <a:pt x="5" y="176"/>
                    <a:pt x="49" y="96"/>
                    <a:pt x="141" y="48"/>
                  </a:cubicBezTo>
                  <a:cubicBezTo>
                    <a:pt x="235" y="0"/>
                    <a:pt x="327" y="9"/>
                    <a:pt x="414" y="67"/>
                  </a:cubicBezTo>
                  <a:cubicBezTo>
                    <a:pt x="425" y="75"/>
                    <a:pt x="439" y="82"/>
                    <a:pt x="438" y="98"/>
                  </a:cubicBezTo>
                  <a:cubicBezTo>
                    <a:pt x="437" y="120"/>
                    <a:pt x="413" y="127"/>
                    <a:pt x="391" y="111"/>
                  </a:cubicBezTo>
                  <a:cubicBezTo>
                    <a:pt x="294" y="40"/>
                    <a:pt x="166" y="56"/>
                    <a:pt x="94" y="149"/>
                  </a:cubicBezTo>
                  <a:cubicBezTo>
                    <a:pt x="30" y="231"/>
                    <a:pt x="36" y="349"/>
                    <a:pt x="107" y="424"/>
                  </a:cubicBezTo>
                  <a:cubicBezTo>
                    <a:pt x="180" y="502"/>
                    <a:pt x="296" y="514"/>
                    <a:pt x="383" y="453"/>
                  </a:cubicBezTo>
                  <a:cubicBezTo>
                    <a:pt x="386" y="451"/>
                    <a:pt x="390" y="449"/>
                    <a:pt x="393" y="446"/>
                  </a:cubicBezTo>
                  <a:cubicBezTo>
                    <a:pt x="407" y="433"/>
                    <a:pt x="420" y="433"/>
                    <a:pt x="433" y="449"/>
                  </a:cubicBezTo>
                  <a:cubicBezTo>
                    <a:pt x="447" y="467"/>
                    <a:pt x="433" y="477"/>
                    <a:pt x="421" y="485"/>
                  </a:cubicBezTo>
                  <a:cubicBezTo>
                    <a:pt x="353" y="537"/>
                    <a:pt x="277" y="553"/>
                    <a:pt x="194" y="531"/>
                  </a:cubicBezTo>
                  <a:cubicBezTo>
                    <a:pt x="79" y="501"/>
                    <a:pt x="1" y="397"/>
                    <a:pt x="0" y="26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en-GB" noProof="0" dirty="0"/>
            </a:p>
          </p:txBody>
        </p:sp>
        <p:sp>
          <p:nvSpPr>
            <p:cNvPr id="22" name="Freeform 6">
              <a:extLst>
                <a:ext uri="{FF2B5EF4-FFF2-40B4-BE49-F238E27FC236}">
                  <a16:creationId xmlns:a16="http://schemas.microsoft.com/office/drawing/2014/main" id="{66D52F08-13EC-4AB4-BB79-89A5395A03BF}"/>
                </a:ext>
              </a:extLst>
            </p:cNvPr>
            <p:cNvSpPr>
              <a:spLocks/>
            </p:cNvSpPr>
            <p:nvPr/>
          </p:nvSpPr>
          <p:spPr bwMode="auto">
            <a:xfrm>
              <a:off x="11412538" y="2590800"/>
              <a:ext cx="835025" cy="1673225"/>
            </a:xfrm>
            <a:custGeom>
              <a:avLst/>
              <a:gdLst>
                <a:gd name="T0" fmla="*/ 0 w 196"/>
                <a:gd name="T1" fmla="*/ 198 h 393"/>
                <a:gd name="T2" fmla="*/ 157 w 196"/>
                <a:gd name="T3" fmla="*/ 8 h 393"/>
                <a:gd name="T4" fmla="*/ 192 w 196"/>
                <a:gd name="T5" fmla="*/ 22 h 393"/>
                <a:gd name="T6" fmla="*/ 167 w 196"/>
                <a:gd name="T7" fmla="*/ 56 h 393"/>
                <a:gd name="T8" fmla="*/ 48 w 196"/>
                <a:gd name="T9" fmla="*/ 198 h 393"/>
                <a:gd name="T10" fmla="*/ 170 w 196"/>
                <a:gd name="T11" fmla="*/ 339 h 393"/>
                <a:gd name="T12" fmla="*/ 193 w 196"/>
                <a:gd name="T13" fmla="*/ 372 h 393"/>
                <a:gd name="T14" fmla="*/ 160 w 196"/>
                <a:gd name="T15" fmla="*/ 387 h 393"/>
                <a:gd name="T16" fmla="*/ 0 w 196"/>
                <a:gd name="T17" fmla="*/ 198 h 3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6" h="393">
                  <a:moveTo>
                    <a:pt x="0" y="198"/>
                  </a:moveTo>
                  <a:cubicBezTo>
                    <a:pt x="0" y="103"/>
                    <a:pt x="64" y="26"/>
                    <a:pt x="157" y="8"/>
                  </a:cubicBezTo>
                  <a:cubicBezTo>
                    <a:pt x="171" y="6"/>
                    <a:pt x="188" y="0"/>
                    <a:pt x="192" y="22"/>
                  </a:cubicBezTo>
                  <a:cubicBezTo>
                    <a:pt x="196" y="41"/>
                    <a:pt x="190" y="52"/>
                    <a:pt x="167" y="56"/>
                  </a:cubicBezTo>
                  <a:cubicBezTo>
                    <a:pt x="95" y="70"/>
                    <a:pt x="47" y="129"/>
                    <a:pt x="48" y="198"/>
                  </a:cubicBezTo>
                  <a:cubicBezTo>
                    <a:pt x="48" y="267"/>
                    <a:pt x="97" y="325"/>
                    <a:pt x="170" y="339"/>
                  </a:cubicBezTo>
                  <a:cubicBezTo>
                    <a:pt x="191" y="343"/>
                    <a:pt x="195" y="354"/>
                    <a:pt x="193" y="372"/>
                  </a:cubicBezTo>
                  <a:cubicBezTo>
                    <a:pt x="190" y="393"/>
                    <a:pt x="174" y="389"/>
                    <a:pt x="160" y="387"/>
                  </a:cubicBezTo>
                  <a:cubicBezTo>
                    <a:pt x="70" y="375"/>
                    <a:pt x="0" y="293"/>
                    <a:pt x="0" y="19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en-GB" noProof="0" dirty="0"/>
            </a:p>
          </p:txBody>
        </p:sp>
        <p:sp>
          <p:nvSpPr>
            <p:cNvPr id="23" name="Freeform 7">
              <a:extLst>
                <a:ext uri="{FF2B5EF4-FFF2-40B4-BE49-F238E27FC236}">
                  <a16:creationId xmlns:a16="http://schemas.microsoft.com/office/drawing/2014/main" id="{2544236D-8C3A-41EF-9A68-C84A8A7D0F5A}"/>
                </a:ext>
              </a:extLst>
            </p:cNvPr>
            <p:cNvSpPr>
              <a:spLocks/>
            </p:cNvSpPr>
            <p:nvPr/>
          </p:nvSpPr>
          <p:spPr bwMode="auto">
            <a:xfrm>
              <a:off x="11728451" y="3071813"/>
              <a:ext cx="306388" cy="719138"/>
            </a:xfrm>
            <a:custGeom>
              <a:avLst/>
              <a:gdLst>
                <a:gd name="T0" fmla="*/ 0 w 72"/>
                <a:gd name="T1" fmla="*/ 84 h 169"/>
                <a:gd name="T2" fmla="*/ 20 w 72"/>
                <a:gd name="T3" fmla="*/ 20 h 169"/>
                <a:gd name="T4" fmla="*/ 42 w 72"/>
                <a:gd name="T5" fmla="*/ 9 h 169"/>
                <a:gd name="T6" fmla="*/ 62 w 72"/>
                <a:gd name="T7" fmla="*/ 44 h 169"/>
                <a:gd name="T8" fmla="*/ 62 w 72"/>
                <a:gd name="T9" fmla="*/ 125 h 169"/>
                <a:gd name="T10" fmla="*/ 43 w 72"/>
                <a:gd name="T11" fmla="*/ 159 h 169"/>
                <a:gd name="T12" fmla="*/ 20 w 72"/>
                <a:gd name="T13" fmla="*/ 148 h 169"/>
                <a:gd name="T14" fmla="*/ 0 w 72"/>
                <a:gd name="T15" fmla="*/ 84 h 16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2" h="169">
                  <a:moveTo>
                    <a:pt x="0" y="84"/>
                  </a:moveTo>
                  <a:cubicBezTo>
                    <a:pt x="2" y="62"/>
                    <a:pt x="6" y="39"/>
                    <a:pt x="20" y="20"/>
                  </a:cubicBezTo>
                  <a:cubicBezTo>
                    <a:pt x="25" y="13"/>
                    <a:pt x="31" y="0"/>
                    <a:pt x="42" y="9"/>
                  </a:cubicBezTo>
                  <a:cubicBezTo>
                    <a:pt x="53" y="18"/>
                    <a:pt x="72" y="25"/>
                    <a:pt x="62" y="44"/>
                  </a:cubicBezTo>
                  <a:cubicBezTo>
                    <a:pt x="47" y="72"/>
                    <a:pt x="47" y="97"/>
                    <a:pt x="62" y="125"/>
                  </a:cubicBezTo>
                  <a:cubicBezTo>
                    <a:pt x="72" y="143"/>
                    <a:pt x="53" y="151"/>
                    <a:pt x="43" y="159"/>
                  </a:cubicBezTo>
                  <a:cubicBezTo>
                    <a:pt x="31" y="169"/>
                    <a:pt x="25" y="156"/>
                    <a:pt x="20" y="148"/>
                  </a:cubicBezTo>
                  <a:cubicBezTo>
                    <a:pt x="6" y="129"/>
                    <a:pt x="2" y="107"/>
                    <a:pt x="0" y="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en-GB" noProof="0" dirty="0"/>
            </a:p>
          </p:txBody>
        </p:sp>
      </p:grpSp>
      <p:sp>
        <p:nvSpPr>
          <p:cNvPr id="7" name="Rectangle 6">
            <a:extLst>
              <a:ext uri="{FF2B5EF4-FFF2-40B4-BE49-F238E27FC236}">
                <a16:creationId xmlns:a16="http://schemas.microsoft.com/office/drawing/2014/main" id="{76627016-BFC4-46D4-89DB-F72E3C3461EC}"/>
              </a:ext>
            </a:extLst>
          </p:cNvPr>
          <p:cNvSpPr/>
          <p:nvPr userDrawn="1"/>
        </p:nvSpPr>
        <p:spPr>
          <a:xfrm rot="10800000">
            <a:off x="515938" y="-16721"/>
            <a:ext cx="1258618" cy="11050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noProof="0" dirty="0">
              <a:solidFill>
                <a:schemeClr val="bg1"/>
              </a:solidFill>
            </a:endParaRPr>
          </a:p>
        </p:txBody>
      </p:sp>
      <p:sp>
        <p:nvSpPr>
          <p:cNvPr id="15" name="Oval 14">
            <a:extLst>
              <a:ext uri="{FF2B5EF4-FFF2-40B4-BE49-F238E27FC236}">
                <a16:creationId xmlns:a16="http://schemas.microsoft.com/office/drawing/2014/main" id="{EF515B4A-CB20-4847-8E00-0DD66F1FEBB4}"/>
              </a:ext>
            </a:extLst>
          </p:cNvPr>
          <p:cNvSpPr/>
          <p:nvPr userDrawn="1"/>
        </p:nvSpPr>
        <p:spPr>
          <a:xfrm>
            <a:off x="11371669" y="6409397"/>
            <a:ext cx="280051" cy="280051"/>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noProof="0" dirty="0"/>
          </a:p>
        </p:txBody>
      </p:sp>
      <p:sp>
        <p:nvSpPr>
          <p:cNvPr id="16" name="Slide Number Placeholder 5">
            <a:extLst>
              <a:ext uri="{FF2B5EF4-FFF2-40B4-BE49-F238E27FC236}">
                <a16:creationId xmlns:a16="http://schemas.microsoft.com/office/drawing/2014/main" id="{996B64B9-1DF0-4EE9-BAB5-72AFA94B9AFD}"/>
              </a:ext>
            </a:extLst>
          </p:cNvPr>
          <p:cNvSpPr>
            <a:spLocks noGrp="1"/>
          </p:cNvSpPr>
          <p:nvPr>
            <p:ph type="sldNum" sz="quarter" idx="12"/>
          </p:nvPr>
        </p:nvSpPr>
        <p:spPr>
          <a:xfrm>
            <a:off x="11363696" y="6455739"/>
            <a:ext cx="294460" cy="187367"/>
          </a:xfrm>
        </p:spPr>
        <p:txBody>
          <a:bodyPr lIns="0" tIns="0" rIns="0" bIns="0" rtlCol="0"/>
          <a:lstStyle>
            <a:lvl1pPr algn="ctr">
              <a:defRPr sz="900">
                <a:solidFill>
                  <a:schemeClr val="bg1"/>
                </a:solidFill>
                <a:latin typeface="+mn-lt"/>
              </a:defRPr>
            </a:lvl1pPr>
          </a:lstStyle>
          <a:p>
            <a:pPr rtl="0"/>
            <a:fld id="{9EC71654-96A5-4280-94F3-931C61A9F92C}" type="slidenum">
              <a:rPr lang="en-GB" noProof="0" smtClean="0"/>
              <a:pPr/>
              <a:t>‹#›</a:t>
            </a:fld>
            <a:endParaRPr lang="en-GB" noProof="0" dirty="0"/>
          </a:p>
        </p:txBody>
      </p:sp>
      <p:sp>
        <p:nvSpPr>
          <p:cNvPr id="14" name="Title 1">
            <a:extLst>
              <a:ext uri="{FF2B5EF4-FFF2-40B4-BE49-F238E27FC236}">
                <a16:creationId xmlns:a16="http://schemas.microsoft.com/office/drawing/2014/main" id="{9009D5C6-6206-4291-8037-67DC025F0B4C}"/>
              </a:ext>
            </a:extLst>
          </p:cNvPr>
          <p:cNvSpPr>
            <a:spLocks noGrp="1"/>
          </p:cNvSpPr>
          <p:nvPr>
            <p:ph type="title"/>
          </p:nvPr>
        </p:nvSpPr>
        <p:spPr>
          <a:xfrm>
            <a:off x="839788" y="457200"/>
            <a:ext cx="3932237" cy="1600200"/>
          </a:xfrm>
        </p:spPr>
        <p:txBody>
          <a:bodyPr rtlCol="0" anchor="b"/>
          <a:lstStyle>
            <a:lvl1pPr>
              <a:defRPr sz="3200"/>
            </a:lvl1pPr>
          </a:lstStyle>
          <a:p>
            <a:pPr rtl="0"/>
            <a:r>
              <a:rPr lang="en-US" noProof="0"/>
              <a:t>Click to edit Master title style</a:t>
            </a:r>
            <a:endParaRPr lang="en-GB" noProof="0" dirty="0"/>
          </a:p>
        </p:txBody>
      </p:sp>
      <p:sp>
        <p:nvSpPr>
          <p:cNvPr id="17" name="Text Placeholder 3">
            <a:extLst>
              <a:ext uri="{FF2B5EF4-FFF2-40B4-BE49-F238E27FC236}">
                <a16:creationId xmlns:a16="http://schemas.microsoft.com/office/drawing/2014/main" id="{BEB643FD-AA85-4A43-8EBD-AFD10DD98793}"/>
              </a:ext>
            </a:extLst>
          </p:cNvPr>
          <p:cNvSpPr>
            <a:spLocks noGrp="1"/>
          </p:cNvSpPr>
          <p:nvPr>
            <p:ph type="body" sz="half" idx="2"/>
          </p:nvPr>
        </p:nvSpPr>
        <p:spPr>
          <a:xfrm>
            <a:off x="839788" y="2057400"/>
            <a:ext cx="3932237" cy="3811588"/>
          </a:xfrm>
        </p:spPr>
        <p:txBody>
          <a:bodyPr rtlCol="0"/>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rtl="0"/>
            <a:r>
              <a:rPr lang="en-US" noProof="0"/>
              <a:t>Click to edit Master text styles</a:t>
            </a:r>
          </a:p>
        </p:txBody>
      </p:sp>
      <p:sp>
        <p:nvSpPr>
          <p:cNvPr id="18" name="Content Placeholder 2">
            <a:extLst>
              <a:ext uri="{FF2B5EF4-FFF2-40B4-BE49-F238E27FC236}">
                <a16:creationId xmlns:a16="http://schemas.microsoft.com/office/drawing/2014/main" id="{9001F313-F798-43BE-AFF0-A68C84C3640D}"/>
              </a:ext>
            </a:extLst>
          </p:cNvPr>
          <p:cNvSpPr>
            <a:spLocks noGrp="1"/>
          </p:cNvSpPr>
          <p:nvPr>
            <p:ph idx="1"/>
          </p:nvPr>
        </p:nvSpPr>
        <p:spPr>
          <a:xfrm>
            <a:off x="5183188" y="457201"/>
            <a:ext cx="6172200" cy="5403850"/>
          </a:xfrm>
        </p:spPr>
        <p:txBody>
          <a:bodyPr rtlCol="0"/>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rtl="0"/>
            <a:r>
              <a:rPr lang="en-US" noProof="0"/>
              <a:t>Click to edit Master text styles</a:t>
            </a:r>
          </a:p>
          <a:p>
            <a:pPr lvl="1" rtl="0"/>
            <a:r>
              <a:rPr lang="en-US" noProof="0"/>
              <a:t>Second level</a:t>
            </a:r>
          </a:p>
          <a:p>
            <a:pPr lvl="2" rtl="0"/>
            <a:r>
              <a:rPr lang="en-US" noProof="0"/>
              <a:t>Third level</a:t>
            </a:r>
          </a:p>
          <a:p>
            <a:pPr lvl="3" rtl="0"/>
            <a:r>
              <a:rPr lang="en-US" noProof="0"/>
              <a:t>Fourth level</a:t>
            </a:r>
          </a:p>
          <a:p>
            <a:pPr lvl="4" rtl="0"/>
            <a:r>
              <a:rPr lang="en-US" noProof="0"/>
              <a:t>Fifth level</a:t>
            </a:r>
            <a:endParaRPr lang="en-GB" noProof="0" dirty="0"/>
          </a:p>
        </p:txBody>
      </p:sp>
      <p:pic>
        <p:nvPicPr>
          <p:cNvPr id="13" name="Picture 12">
            <a:extLst>
              <a:ext uri="{FF2B5EF4-FFF2-40B4-BE49-F238E27FC236}">
                <a16:creationId xmlns:a16="http://schemas.microsoft.com/office/drawing/2014/main" id="{91881DEA-0ECB-4310-ADF5-4337ACB4338B}"/>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472046" y="6261436"/>
            <a:ext cx="1073019" cy="414000"/>
          </a:xfrm>
          <a:prstGeom prst="rect">
            <a:avLst/>
          </a:prstGeom>
        </p:spPr>
      </p:pic>
    </p:spTree>
    <p:extLst>
      <p:ext uri="{BB962C8B-B14F-4D97-AF65-F5344CB8AC3E}">
        <p14:creationId xmlns:p14="http://schemas.microsoft.com/office/powerpoint/2010/main" val="302531020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Title + text and Conten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B5A5B8F0-6C35-4C1F-A572-1A72AEE99AE1}"/>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9" imgH="360" progId="TCLayout.ActiveDocument.1">
                  <p:embed/>
                </p:oleObj>
              </mc:Choice>
              <mc:Fallback>
                <p:oleObj name="think-cell Slide" r:id="rId4" imgW="359" imgH="360" progId="TCLayout.ActiveDocument.1">
                  <p:embed/>
                  <p:pic>
                    <p:nvPicPr>
                      <p:cNvPr id="8" name="Object 7" hidden="1">
                        <a:extLst>
                          <a:ext uri="{FF2B5EF4-FFF2-40B4-BE49-F238E27FC236}">
                            <a16:creationId xmlns:a16="http://schemas.microsoft.com/office/drawing/2014/main" id="{B5A5B8F0-6C35-4C1F-A572-1A72AEE99AE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8BBE3A15-AB52-4BE6-80D7-75E39EA88BAB}"/>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800" b="1" i="0" baseline="0" dirty="0">
              <a:latin typeface="Century Gothic" panose="020B0502020202020204" pitchFamily="34" charset="0"/>
              <a:ea typeface="+mj-ea"/>
              <a:cs typeface="+mj-cs"/>
              <a:sym typeface="Century Gothic" panose="020B0502020202020204" pitchFamily="34" charset="0"/>
            </a:endParaRPr>
          </a:p>
        </p:txBody>
      </p:sp>
      <p:sp>
        <p:nvSpPr>
          <p:cNvPr id="3" name="Content Placeholder 2">
            <a:extLst>
              <a:ext uri="{FF2B5EF4-FFF2-40B4-BE49-F238E27FC236}">
                <a16:creationId xmlns:a16="http://schemas.microsoft.com/office/drawing/2014/main" id="{CF770B01-1CBF-470B-BE8C-28C9D923DC74}"/>
              </a:ext>
            </a:extLst>
          </p:cNvPr>
          <p:cNvSpPr>
            <a:spLocks noGrp="1"/>
          </p:cNvSpPr>
          <p:nvPr>
            <p:ph idx="1"/>
          </p:nvPr>
        </p:nvSpPr>
        <p:spPr>
          <a:xfrm>
            <a:off x="838200" y="1584000"/>
            <a:ext cx="9850012" cy="3866400"/>
          </a:xfrm>
        </p:spPr>
        <p:txBody>
          <a:bodyPr lIns="0"/>
          <a:lstStyle>
            <a:lvl1pPr marL="0" indent="0">
              <a:buFontTx/>
              <a:buNone/>
              <a:defRPr/>
            </a:lvl1pPr>
            <a:lvl2pPr marL="285750" indent="-285750">
              <a:buFont typeface="Arial" panose="020B0604020202020204" pitchFamily="34" charset="0"/>
              <a:buChar char="•"/>
              <a:defRPr/>
            </a:lvl2pPr>
            <a:lvl3pPr marL="898525" indent="-325438">
              <a:buFont typeface="Century Gothic" panose="020B0502020202020204" pitchFamily="34" charset="0"/>
              <a:buChar char="–"/>
              <a:defRPr/>
            </a:lvl3pPr>
            <a:lvl4pPr marL="1347788" indent="-228600">
              <a:buFont typeface="Century Gothic" panose="020B0502020202020204" pitchFamily="34" charset="0"/>
              <a:buChar char="»"/>
              <a:defRPr/>
            </a:lvl4pPr>
            <a:lvl5pPr marL="1793875" indent="-228600">
              <a:buFont typeface="Century Gothic" panose="020B0502020202020204" pitchFamily="34" charset="0"/>
              <a:buChar char="&g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9" name="Title 8">
            <a:extLst>
              <a:ext uri="{FF2B5EF4-FFF2-40B4-BE49-F238E27FC236}">
                <a16:creationId xmlns:a16="http://schemas.microsoft.com/office/drawing/2014/main" id="{57A735C9-FE54-4026-930C-4F754E1E80D2}"/>
              </a:ext>
            </a:extLst>
          </p:cNvPr>
          <p:cNvSpPr>
            <a:spLocks noGrp="1"/>
          </p:cNvSpPr>
          <p:nvPr>
            <p:ph type="title"/>
          </p:nvPr>
        </p:nvSpPr>
        <p:spPr>
          <a:xfrm>
            <a:off x="838200" y="647222"/>
            <a:ext cx="9850012" cy="655200"/>
          </a:xfrm>
        </p:spPr>
        <p:txBody>
          <a:bodyPr lIns="0">
            <a:noAutofit/>
          </a:bodyPr>
          <a:lstStyle/>
          <a:p>
            <a:r>
              <a:rPr lang="en-US"/>
              <a:t>Click to edit Master title style</a:t>
            </a:r>
            <a:endParaRPr lang="en-GB" dirty="0"/>
          </a:p>
        </p:txBody>
      </p:sp>
      <p:sp>
        <p:nvSpPr>
          <p:cNvPr id="13" name="Date Placeholder 12">
            <a:extLst>
              <a:ext uri="{FF2B5EF4-FFF2-40B4-BE49-F238E27FC236}">
                <a16:creationId xmlns:a16="http://schemas.microsoft.com/office/drawing/2014/main" id="{2836FA22-721B-41E3-9F4B-C5625FD25E65}"/>
              </a:ext>
            </a:extLst>
          </p:cNvPr>
          <p:cNvSpPr>
            <a:spLocks noGrp="1"/>
          </p:cNvSpPr>
          <p:nvPr>
            <p:ph type="dt" sz="half" idx="10"/>
          </p:nvPr>
        </p:nvSpPr>
        <p:spPr/>
        <p:txBody>
          <a:bodyPr/>
          <a:lstStyle/>
          <a:p>
            <a:fld id="{7F3FB206-B67E-4C9A-AA27-AD5CB54F7FE9}" type="datetime1">
              <a:rPr lang="en-US" smtClean="0"/>
              <a:t>10/19/2023</a:t>
            </a:fld>
            <a:endParaRPr lang="en-GB" dirty="0"/>
          </a:p>
        </p:txBody>
      </p:sp>
      <p:sp>
        <p:nvSpPr>
          <p:cNvPr id="14" name="Footer Placeholder 13">
            <a:extLst>
              <a:ext uri="{FF2B5EF4-FFF2-40B4-BE49-F238E27FC236}">
                <a16:creationId xmlns:a16="http://schemas.microsoft.com/office/drawing/2014/main" id="{B129E077-2578-4337-868A-C8DFE01777C5}"/>
              </a:ext>
            </a:extLst>
          </p:cNvPr>
          <p:cNvSpPr>
            <a:spLocks noGrp="1"/>
          </p:cNvSpPr>
          <p:nvPr>
            <p:ph type="ftr" sz="quarter" idx="11"/>
          </p:nvPr>
        </p:nvSpPr>
        <p:spPr/>
        <p:txBody>
          <a:bodyPr/>
          <a:lstStyle/>
          <a:p>
            <a:endParaRPr lang="en-GB" dirty="0"/>
          </a:p>
        </p:txBody>
      </p:sp>
      <p:sp>
        <p:nvSpPr>
          <p:cNvPr id="15" name="Slide Number Placeholder 14">
            <a:extLst>
              <a:ext uri="{FF2B5EF4-FFF2-40B4-BE49-F238E27FC236}">
                <a16:creationId xmlns:a16="http://schemas.microsoft.com/office/drawing/2014/main" id="{DDB6CD78-7E02-44B4-A267-8347E97443E0}"/>
              </a:ext>
            </a:extLst>
          </p:cNvPr>
          <p:cNvSpPr>
            <a:spLocks noGrp="1"/>
          </p:cNvSpPr>
          <p:nvPr>
            <p:ph type="sldNum" sz="quarter" idx="12"/>
          </p:nvPr>
        </p:nvSpPr>
        <p:spPr/>
        <p:txBody>
          <a:bodyPr/>
          <a:lstStyle/>
          <a:p>
            <a:fld id="{55E5625F-1FD2-1C4F-96E4-1B7E00555D74}" type="slidenum">
              <a:rPr lang="nl-BE" smtClean="0"/>
              <a:pPr/>
              <a:t>‹#›</a:t>
            </a:fld>
            <a:endParaRPr lang="nl-BE" dirty="0"/>
          </a:p>
        </p:txBody>
      </p:sp>
    </p:spTree>
    <p:extLst>
      <p:ext uri="{BB962C8B-B14F-4D97-AF65-F5344CB8AC3E}">
        <p14:creationId xmlns:p14="http://schemas.microsoft.com/office/powerpoint/2010/main" val="181378126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_02">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6299464-ED20-4919-8B3A-2CFAE8DA2347}"/>
              </a:ext>
            </a:extLst>
          </p:cNvPr>
          <p:cNvSpPr/>
          <p:nvPr userDrawn="1"/>
        </p:nvSpPr>
        <p:spPr>
          <a:xfrm>
            <a:off x="0" y="0"/>
            <a:ext cx="12192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noProof="0" dirty="0"/>
          </a:p>
        </p:txBody>
      </p:sp>
      <p:sp>
        <p:nvSpPr>
          <p:cNvPr id="2" name="Title 1">
            <a:extLst>
              <a:ext uri="{FF2B5EF4-FFF2-40B4-BE49-F238E27FC236}">
                <a16:creationId xmlns:a16="http://schemas.microsoft.com/office/drawing/2014/main" id="{2456FD49-C258-4333-9422-358C976A341C}"/>
              </a:ext>
            </a:extLst>
          </p:cNvPr>
          <p:cNvSpPr>
            <a:spLocks noGrp="1"/>
          </p:cNvSpPr>
          <p:nvPr>
            <p:ph type="ctrTitle" hasCustomPrompt="1"/>
          </p:nvPr>
        </p:nvSpPr>
        <p:spPr>
          <a:xfrm>
            <a:off x="6343650" y="2173288"/>
            <a:ext cx="5143500" cy="2090808"/>
          </a:xfrm>
        </p:spPr>
        <p:txBody>
          <a:bodyPr rtlCol="0" anchor="b">
            <a:noAutofit/>
          </a:bodyPr>
          <a:lstStyle>
            <a:lvl1pPr algn="l">
              <a:defRPr sz="5400" b="1" cap="all" baseline="0">
                <a:solidFill>
                  <a:schemeClr val="bg1"/>
                </a:solidFill>
                <a:latin typeface="+mj-lt"/>
              </a:defRPr>
            </a:lvl1pPr>
          </a:lstStyle>
          <a:p>
            <a:pPr rtl="0"/>
            <a:r>
              <a:rPr lang="en-GB" noProof="0" dirty="0"/>
              <a:t>Title comes here</a:t>
            </a:r>
          </a:p>
        </p:txBody>
      </p:sp>
      <p:sp>
        <p:nvSpPr>
          <p:cNvPr id="3" name="Subtitle 2">
            <a:extLst>
              <a:ext uri="{FF2B5EF4-FFF2-40B4-BE49-F238E27FC236}">
                <a16:creationId xmlns:a16="http://schemas.microsoft.com/office/drawing/2014/main" id="{59758E15-A93D-4FB9-843D-1490E27A151B}"/>
              </a:ext>
            </a:extLst>
          </p:cNvPr>
          <p:cNvSpPr>
            <a:spLocks noGrp="1"/>
          </p:cNvSpPr>
          <p:nvPr>
            <p:ph type="subTitle" idx="1"/>
          </p:nvPr>
        </p:nvSpPr>
        <p:spPr>
          <a:xfrm>
            <a:off x="6343650" y="4279971"/>
            <a:ext cx="5143500" cy="503167"/>
          </a:xfrm>
        </p:spPr>
        <p:txBody>
          <a:bodyPr rtlCol="0">
            <a:noAutofit/>
          </a:bodyPr>
          <a:lstStyle>
            <a:lvl1pPr marL="0" indent="0" algn="l">
              <a:buNone/>
              <a:defRPr sz="1800" b="0" cap="all" baseline="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rtl="0"/>
            <a:r>
              <a:rPr lang="en-US" noProof="0"/>
              <a:t>Click to edit Master subtitle style</a:t>
            </a:r>
            <a:endParaRPr lang="en-GB" noProof="0" dirty="0"/>
          </a:p>
        </p:txBody>
      </p:sp>
      <p:sp>
        <p:nvSpPr>
          <p:cNvPr id="13" name="Picture Placeholder 12">
            <a:extLst>
              <a:ext uri="{FF2B5EF4-FFF2-40B4-BE49-F238E27FC236}">
                <a16:creationId xmlns:a16="http://schemas.microsoft.com/office/drawing/2014/main" id="{BCCC559D-0EC3-432C-B397-6897B366DF36}"/>
              </a:ext>
            </a:extLst>
          </p:cNvPr>
          <p:cNvSpPr>
            <a:spLocks noGrp="1"/>
          </p:cNvSpPr>
          <p:nvPr>
            <p:ph type="pic" sz="quarter" idx="10"/>
          </p:nvPr>
        </p:nvSpPr>
        <p:spPr>
          <a:xfrm>
            <a:off x="710812" y="728545"/>
            <a:ext cx="5305661" cy="5305661"/>
          </a:xfrm>
          <a:prstGeom prst="ellipse">
            <a:avLst/>
          </a:prstGeom>
          <a:solidFill>
            <a:schemeClr val="bg2"/>
          </a:solidFill>
        </p:spPr>
        <p:txBody>
          <a:bodyPr rtlCol="0" anchor="ctr"/>
          <a:lstStyle>
            <a:lvl1pPr marL="0" indent="0" algn="ctr">
              <a:buNone/>
              <a:defRPr/>
            </a:lvl1pPr>
          </a:lstStyle>
          <a:p>
            <a:pPr rtl="0"/>
            <a:r>
              <a:rPr lang="en-US" noProof="0" dirty="0"/>
              <a:t>Click icon to add picture</a:t>
            </a:r>
            <a:endParaRPr lang="en-GB" noProof="0" dirty="0"/>
          </a:p>
        </p:txBody>
      </p:sp>
      <p:grpSp>
        <p:nvGrpSpPr>
          <p:cNvPr id="14" name="Group 13">
            <a:extLst>
              <a:ext uri="{FF2B5EF4-FFF2-40B4-BE49-F238E27FC236}">
                <a16:creationId xmlns:a16="http://schemas.microsoft.com/office/drawing/2014/main" id="{0DC2055F-AE3F-46BE-B57E-A0F1A86D1C36}"/>
              </a:ext>
            </a:extLst>
          </p:cNvPr>
          <p:cNvGrpSpPr/>
          <p:nvPr userDrawn="1"/>
        </p:nvGrpSpPr>
        <p:grpSpPr>
          <a:xfrm>
            <a:off x="-1728305" y="-2049517"/>
            <a:ext cx="8917229" cy="10769768"/>
            <a:chOff x="11114088" y="2241550"/>
            <a:chExt cx="1905000" cy="2354263"/>
          </a:xfrm>
          <a:solidFill>
            <a:schemeClr val="bg1">
              <a:alpha val="16000"/>
            </a:schemeClr>
          </a:solidFill>
        </p:grpSpPr>
        <p:sp>
          <p:nvSpPr>
            <p:cNvPr id="15" name="Freeform 5">
              <a:extLst>
                <a:ext uri="{FF2B5EF4-FFF2-40B4-BE49-F238E27FC236}">
                  <a16:creationId xmlns:a16="http://schemas.microsoft.com/office/drawing/2014/main" id="{C98EF042-A3B8-406D-BC16-153A989F571A}"/>
                </a:ext>
              </a:extLst>
            </p:cNvPr>
            <p:cNvSpPr>
              <a:spLocks/>
            </p:cNvSpPr>
            <p:nvPr/>
          </p:nvSpPr>
          <p:spPr bwMode="auto">
            <a:xfrm>
              <a:off x="11114088" y="2241550"/>
              <a:ext cx="1905000" cy="2354263"/>
            </a:xfrm>
            <a:custGeom>
              <a:avLst/>
              <a:gdLst>
                <a:gd name="T0" fmla="*/ 0 w 447"/>
                <a:gd name="T1" fmla="*/ 264 h 553"/>
                <a:gd name="T2" fmla="*/ 141 w 447"/>
                <a:gd name="T3" fmla="*/ 48 h 553"/>
                <a:gd name="T4" fmla="*/ 414 w 447"/>
                <a:gd name="T5" fmla="*/ 67 h 553"/>
                <a:gd name="T6" fmla="*/ 438 w 447"/>
                <a:gd name="T7" fmla="*/ 98 h 553"/>
                <a:gd name="T8" fmla="*/ 391 w 447"/>
                <a:gd name="T9" fmla="*/ 111 h 553"/>
                <a:gd name="T10" fmla="*/ 94 w 447"/>
                <a:gd name="T11" fmla="*/ 149 h 553"/>
                <a:gd name="T12" fmla="*/ 107 w 447"/>
                <a:gd name="T13" fmla="*/ 424 h 553"/>
                <a:gd name="T14" fmla="*/ 383 w 447"/>
                <a:gd name="T15" fmla="*/ 453 h 553"/>
                <a:gd name="T16" fmla="*/ 393 w 447"/>
                <a:gd name="T17" fmla="*/ 446 h 553"/>
                <a:gd name="T18" fmla="*/ 433 w 447"/>
                <a:gd name="T19" fmla="*/ 449 h 553"/>
                <a:gd name="T20" fmla="*/ 421 w 447"/>
                <a:gd name="T21" fmla="*/ 485 h 553"/>
                <a:gd name="T22" fmla="*/ 194 w 447"/>
                <a:gd name="T23" fmla="*/ 531 h 553"/>
                <a:gd name="T24" fmla="*/ 0 w 447"/>
                <a:gd name="T25" fmla="*/ 264 h 5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7" h="553">
                  <a:moveTo>
                    <a:pt x="0" y="264"/>
                  </a:moveTo>
                  <a:cubicBezTo>
                    <a:pt x="5" y="176"/>
                    <a:pt x="49" y="96"/>
                    <a:pt x="141" y="48"/>
                  </a:cubicBezTo>
                  <a:cubicBezTo>
                    <a:pt x="235" y="0"/>
                    <a:pt x="327" y="9"/>
                    <a:pt x="414" y="67"/>
                  </a:cubicBezTo>
                  <a:cubicBezTo>
                    <a:pt x="425" y="75"/>
                    <a:pt x="439" y="82"/>
                    <a:pt x="438" y="98"/>
                  </a:cubicBezTo>
                  <a:cubicBezTo>
                    <a:pt x="437" y="120"/>
                    <a:pt x="413" y="127"/>
                    <a:pt x="391" y="111"/>
                  </a:cubicBezTo>
                  <a:cubicBezTo>
                    <a:pt x="294" y="40"/>
                    <a:pt x="166" y="56"/>
                    <a:pt x="94" y="149"/>
                  </a:cubicBezTo>
                  <a:cubicBezTo>
                    <a:pt x="30" y="231"/>
                    <a:pt x="36" y="349"/>
                    <a:pt x="107" y="424"/>
                  </a:cubicBezTo>
                  <a:cubicBezTo>
                    <a:pt x="180" y="502"/>
                    <a:pt x="296" y="514"/>
                    <a:pt x="383" y="453"/>
                  </a:cubicBezTo>
                  <a:cubicBezTo>
                    <a:pt x="386" y="451"/>
                    <a:pt x="390" y="449"/>
                    <a:pt x="393" y="446"/>
                  </a:cubicBezTo>
                  <a:cubicBezTo>
                    <a:pt x="407" y="433"/>
                    <a:pt x="420" y="433"/>
                    <a:pt x="433" y="449"/>
                  </a:cubicBezTo>
                  <a:cubicBezTo>
                    <a:pt x="447" y="467"/>
                    <a:pt x="433" y="477"/>
                    <a:pt x="421" y="485"/>
                  </a:cubicBezTo>
                  <a:cubicBezTo>
                    <a:pt x="353" y="537"/>
                    <a:pt x="277" y="553"/>
                    <a:pt x="194" y="531"/>
                  </a:cubicBezTo>
                  <a:cubicBezTo>
                    <a:pt x="79" y="501"/>
                    <a:pt x="1" y="397"/>
                    <a:pt x="0" y="26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en-GB" noProof="0" dirty="0"/>
            </a:p>
          </p:txBody>
        </p:sp>
        <p:sp>
          <p:nvSpPr>
            <p:cNvPr id="16" name="Freeform 6">
              <a:extLst>
                <a:ext uri="{FF2B5EF4-FFF2-40B4-BE49-F238E27FC236}">
                  <a16:creationId xmlns:a16="http://schemas.microsoft.com/office/drawing/2014/main" id="{68E5FAC9-A660-4D7A-AC84-0A7C8CC3BB65}"/>
                </a:ext>
              </a:extLst>
            </p:cNvPr>
            <p:cNvSpPr>
              <a:spLocks/>
            </p:cNvSpPr>
            <p:nvPr/>
          </p:nvSpPr>
          <p:spPr bwMode="auto">
            <a:xfrm>
              <a:off x="11412538" y="2590800"/>
              <a:ext cx="835025" cy="1673225"/>
            </a:xfrm>
            <a:custGeom>
              <a:avLst/>
              <a:gdLst>
                <a:gd name="T0" fmla="*/ 0 w 196"/>
                <a:gd name="T1" fmla="*/ 198 h 393"/>
                <a:gd name="T2" fmla="*/ 157 w 196"/>
                <a:gd name="T3" fmla="*/ 8 h 393"/>
                <a:gd name="T4" fmla="*/ 192 w 196"/>
                <a:gd name="T5" fmla="*/ 22 h 393"/>
                <a:gd name="T6" fmla="*/ 167 w 196"/>
                <a:gd name="T7" fmla="*/ 56 h 393"/>
                <a:gd name="T8" fmla="*/ 48 w 196"/>
                <a:gd name="T9" fmla="*/ 198 h 393"/>
                <a:gd name="T10" fmla="*/ 170 w 196"/>
                <a:gd name="T11" fmla="*/ 339 h 393"/>
                <a:gd name="T12" fmla="*/ 193 w 196"/>
                <a:gd name="T13" fmla="*/ 372 h 393"/>
                <a:gd name="T14" fmla="*/ 160 w 196"/>
                <a:gd name="T15" fmla="*/ 387 h 393"/>
                <a:gd name="T16" fmla="*/ 0 w 196"/>
                <a:gd name="T17" fmla="*/ 198 h 3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6" h="393">
                  <a:moveTo>
                    <a:pt x="0" y="198"/>
                  </a:moveTo>
                  <a:cubicBezTo>
                    <a:pt x="0" y="103"/>
                    <a:pt x="64" y="26"/>
                    <a:pt x="157" y="8"/>
                  </a:cubicBezTo>
                  <a:cubicBezTo>
                    <a:pt x="171" y="6"/>
                    <a:pt x="188" y="0"/>
                    <a:pt x="192" y="22"/>
                  </a:cubicBezTo>
                  <a:cubicBezTo>
                    <a:pt x="196" y="41"/>
                    <a:pt x="190" y="52"/>
                    <a:pt x="167" y="56"/>
                  </a:cubicBezTo>
                  <a:cubicBezTo>
                    <a:pt x="95" y="70"/>
                    <a:pt x="47" y="129"/>
                    <a:pt x="48" y="198"/>
                  </a:cubicBezTo>
                  <a:cubicBezTo>
                    <a:pt x="48" y="267"/>
                    <a:pt x="97" y="325"/>
                    <a:pt x="170" y="339"/>
                  </a:cubicBezTo>
                  <a:cubicBezTo>
                    <a:pt x="191" y="343"/>
                    <a:pt x="195" y="354"/>
                    <a:pt x="193" y="372"/>
                  </a:cubicBezTo>
                  <a:cubicBezTo>
                    <a:pt x="190" y="393"/>
                    <a:pt x="174" y="389"/>
                    <a:pt x="160" y="387"/>
                  </a:cubicBezTo>
                  <a:cubicBezTo>
                    <a:pt x="70" y="375"/>
                    <a:pt x="0" y="293"/>
                    <a:pt x="0" y="19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en-GB" noProof="0" dirty="0"/>
            </a:p>
          </p:txBody>
        </p:sp>
      </p:grpSp>
      <p:pic>
        <p:nvPicPr>
          <p:cNvPr id="9" name="Picture 8">
            <a:extLst>
              <a:ext uri="{FF2B5EF4-FFF2-40B4-BE49-F238E27FC236}">
                <a16:creationId xmlns:a16="http://schemas.microsoft.com/office/drawing/2014/main" id="{4FE28ACC-E44C-4381-B768-0310810E78D2}"/>
              </a:ext>
            </a:extLst>
          </p:cNvPr>
          <p:cNvPicPr>
            <a:picLocks noChangeAspect="1"/>
          </p:cNvPicPr>
          <p:nvPr userDrawn="1"/>
        </p:nvPicPr>
        <p:blipFill>
          <a:blip r:embed="rId2"/>
          <a:srcRect/>
          <a:stretch/>
        </p:blipFill>
        <p:spPr>
          <a:xfrm>
            <a:off x="10983433" y="0"/>
            <a:ext cx="1208566" cy="1146165"/>
          </a:xfrm>
          <a:prstGeom prst="rect">
            <a:avLst/>
          </a:prstGeom>
        </p:spPr>
      </p:pic>
      <p:cxnSp>
        <p:nvCxnSpPr>
          <p:cNvPr id="5" name="Straight Connector 4">
            <a:extLst>
              <a:ext uri="{FF2B5EF4-FFF2-40B4-BE49-F238E27FC236}">
                <a16:creationId xmlns:a16="http://schemas.microsoft.com/office/drawing/2014/main" id="{819AFA09-F4B1-493D-BCAD-FF30C20CD1AA}"/>
              </a:ext>
            </a:extLst>
          </p:cNvPr>
          <p:cNvCxnSpPr>
            <a:cxnSpLocks/>
          </p:cNvCxnSpPr>
          <p:nvPr userDrawn="1"/>
        </p:nvCxnSpPr>
        <p:spPr>
          <a:xfrm>
            <a:off x="6469778" y="4233582"/>
            <a:ext cx="4174249"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12140839"/>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guide id="3" pos="7333" userDrawn="1">
          <p15:clr>
            <a:srgbClr val="FBAE40"/>
          </p15:clr>
        </p15:guide>
        <p15:guide id="4" pos="362" userDrawn="1">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userDrawn="1">
  <p:cSld name="Picture">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C574FDB8-CEAB-544E-AD9B-366FA9D7BBFB}"/>
              </a:ext>
            </a:extLst>
          </p:cNvPr>
          <p:cNvSpPr>
            <a:spLocks noGrp="1"/>
          </p:cNvSpPr>
          <p:nvPr>
            <p:ph type="pic" sz="quarter" idx="10"/>
          </p:nvPr>
        </p:nvSpPr>
        <p:spPr>
          <a:xfrm>
            <a:off x="-9524" y="-3207"/>
            <a:ext cx="12205942" cy="6873878"/>
          </a:xfrm>
          <a:custGeom>
            <a:avLst/>
            <a:gdLst>
              <a:gd name="connsiteX0" fmla="*/ 0 w 21600"/>
              <a:gd name="connsiteY0" fmla="*/ 0 h 21600"/>
              <a:gd name="connsiteX1" fmla="*/ 21600 w 21600"/>
              <a:gd name="connsiteY1" fmla="*/ 0 h 21600"/>
              <a:gd name="connsiteX2" fmla="*/ 21600 w 21600"/>
              <a:gd name="connsiteY2" fmla="*/ 17322 h 21600"/>
              <a:gd name="connsiteX3" fmla="*/ 0 w 21600"/>
              <a:gd name="connsiteY3" fmla="*/ 20172 h 21600"/>
              <a:gd name="connsiteX4" fmla="*/ 0 w 21600"/>
              <a:gd name="connsiteY4" fmla="*/ 0 h 21600"/>
              <a:gd name="connsiteX0" fmla="*/ 0 w 21600"/>
              <a:gd name="connsiteY0" fmla="*/ 0 h 21118"/>
              <a:gd name="connsiteX1" fmla="*/ 21600 w 21600"/>
              <a:gd name="connsiteY1" fmla="*/ 0 h 21118"/>
              <a:gd name="connsiteX2" fmla="*/ 21600 w 21600"/>
              <a:gd name="connsiteY2" fmla="*/ 17322 h 21118"/>
              <a:gd name="connsiteX3" fmla="*/ 16974 w 21600"/>
              <a:gd name="connsiteY3" fmla="*/ 17767 h 21118"/>
              <a:gd name="connsiteX4" fmla="*/ 0 w 21600"/>
              <a:gd name="connsiteY4" fmla="*/ 20172 h 21118"/>
              <a:gd name="connsiteX5" fmla="*/ 0 w 21600"/>
              <a:gd name="connsiteY5" fmla="*/ 0 h 21118"/>
              <a:gd name="connsiteX0" fmla="*/ 0 w 21600"/>
              <a:gd name="connsiteY0" fmla="*/ 0 h 21342"/>
              <a:gd name="connsiteX1" fmla="*/ 21600 w 21600"/>
              <a:gd name="connsiteY1" fmla="*/ 0 h 21342"/>
              <a:gd name="connsiteX2" fmla="*/ 21600 w 21600"/>
              <a:gd name="connsiteY2" fmla="*/ 17322 h 21342"/>
              <a:gd name="connsiteX3" fmla="*/ 13248 w 21600"/>
              <a:gd name="connsiteY3" fmla="*/ 19123 h 21342"/>
              <a:gd name="connsiteX4" fmla="*/ 0 w 21600"/>
              <a:gd name="connsiteY4" fmla="*/ 20172 h 21342"/>
              <a:gd name="connsiteX5" fmla="*/ 0 w 21600"/>
              <a:gd name="connsiteY5" fmla="*/ 0 h 21342"/>
              <a:gd name="connsiteX0" fmla="*/ 0 w 21600"/>
              <a:gd name="connsiteY0" fmla="*/ 0 h 20172"/>
              <a:gd name="connsiteX1" fmla="*/ 21600 w 21600"/>
              <a:gd name="connsiteY1" fmla="*/ 0 h 20172"/>
              <a:gd name="connsiteX2" fmla="*/ 21600 w 21600"/>
              <a:gd name="connsiteY2" fmla="*/ 17322 h 20172"/>
              <a:gd name="connsiteX3" fmla="*/ 13248 w 21600"/>
              <a:gd name="connsiteY3" fmla="*/ 19123 h 20172"/>
              <a:gd name="connsiteX4" fmla="*/ 0 w 21600"/>
              <a:gd name="connsiteY4" fmla="*/ 20172 h 20172"/>
              <a:gd name="connsiteX5" fmla="*/ 0 w 21600"/>
              <a:gd name="connsiteY5" fmla="*/ 0 h 20172"/>
              <a:gd name="connsiteX0" fmla="*/ 0 w 21600"/>
              <a:gd name="connsiteY0" fmla="*/ 0 h 20172"/>
              <a:gd name="connsiteX1" fmla="*/ 21600 w 21600"/>
              <a:gd name="connsiteY1" fmla="*/ 0 h 20172"/>
              <a:gd name="connsiteX2" fmla="*/ 21600 w 21600"/>
              <a:gd name="connsiteY2" fmla="*/ 17322 h 20172"/>
              <a:gd name="connsiteX3" fmla="*/ 12330 w 21600"/>
              <a:gd name="connsiteY3" fmla="*/ 19632 h 20172"/>
              <a:gd name="connsiteX4" fmla="*/ 0 w 21600"/>
              <a:gd name="connsiteY4" fmla="*/ 20172 h 20172"/>
              <a:gd name="connsiteX5" fmla="*/ 0 w 21600"/>
              <a:gd name="connsiteY5" fmla="*/ 0 h 20172"/>
              <a:gd name="connsiteX0" fmla="*/ 0 w 21618"/>
              <a:gd name="connsiteY0" fmla="*/ 0 h 20172"/>
              <a:gd name="connsiteX1" fmla="*/ 21600 w 21618"/>
              <a:gd name="connsiteY1" fmla="*/ 0 h 20172"/>
              <a:gd name="connsiteX2" fmla="*/ 21618 w 21618"/>
              <a:gd name="connsiteY2" fmla="*/ 14779 h 20172"/>
              <a:gd name="connsiteX3" fmla="*/ 12330 w 21618"/>
              <a:gd name="connsiteY3" fmla="*/ 19632 h 20172"/>
              <a:gd name="connsiteX4" fmla="*/ 0 w 21618"/>
              <a:gd name="connsiteY4" fmla="*/ 20172 h 20172"/>
              <a:gd name="connsiteX5" fmla="*/ 0 w 21618"/>
              <a:gd name="connsiteY5" fmla="*/ 0 h 20172"/>
              <a:gd name="connsiteX0" fmla="*/ 0 w 21618"/>
              <a:gd name="connsiteY0" fmla="*/ 0 h 20172"/>
              <a:gd name="connsiteX1" fmla="*/ 21600 w 21618"/>
              <a:gd name="connsiteY1" fmla="*/ 0 h 20172"/>
              <a:gd name="connsiteX2" fmla="*/ 21618 w 21618"/>
              <a:gd name="connsiteY2" fmla="*/ 14779 h 20172"/>
              <a:gd name="connsiteX3" fmla="*/ 12330 w 21618"/>
              <a:gd name="connsiteY3" fmla="*/ 19632 h 20172"/>
              <a:gd name="connsiteX4" fmla="*/ 0 w 21618"/>
              <a:gd name="connsiteY4" fmla="*/ 20172 h 20172"/>
              <a:gd name="connsiteX5" fmla="*/ 0 w 21618"/>
              <a:gd name="connsiteY5" fmla="*/ 0 h 20172"/>
              <a:gd name="connsiteX0" fmla="*/ 0 w 21618"/>
              <a:gd name="connsiteY0" fmla="*/ 0 h 20172"/>
              <a:gd name="connsiteX1" fmla="*/ 21600 w 21618"/>
              <a:gd name="connsiteY1" fmla="*/ 0 h 20172"/>
              <a:gd name="connsiteX2" fmla="*/ 21618 w 21618"/>
              <a:gd name="connsiteY2" fmla="*/ 14779 h 20172"/>
              <a:gd name="connsiteX3" fmla="*/ 12330 w 21618"/>
              <a:gd name="connsiteY3" fmla="*/ 19632 h 20172"/>
              <a:gd name="connsiteX4" fmla="*/ 0 w 21618"/>
              <a:gd name="connsiteY4" fmla="*/ 20172 h 20172"/>
              <a:gd name="connsiteX5" fmla="*/ 0 w 21618"/>
              <a:gd name="connsiteY5" fmla="*/ 0 h 20172"/>
              <a:gd name="connsiteX0" fmla="*/ 0 w 21618"/>
              <a:gd name="connsiteY0" fmla="*/ 0 h 20336"/>
              <a:gd name="connsiteX1" fmla="*/ 21600 w 21618"/>
              <a:gd name="connsiteY1" fmla="*/ 0 h 20336"/>
              <a:gd name="connsiteX2" fmla="*/ 21618 w 21618"/>
              <a:gd name="connsiteY2" fmla="*/ 14779 h 20336"/>
              <a:gd name="connsiteX3" fmla="*/ 12330 w 21618"/>
              <a:gd name="connsiteY3" fmla="*/ 19632 h 20336"/>
              <a:gd name="connsiteX4" fmla="*/ 0 w 21618"/>
              <a:gd name="connsiteY4" fmla="*/ 20172 h 20336"/>
              <a:gd name="connsiteX5" fmla="*/ 0 w 21618"/>
              <a:gd name="connsiteY5" fmla="*/ 0 h 20336"/>
              <a:gd name="connsiteX0" fmla="*/ 0 w 21618"/>
              <a:gd name="connsiteY0" fmla="*/ 0 h 22923"/>
              <a:gd name="connsiteX1" fmla="*/ 21600 w 21618"/>
              <a:gd name="connsiteY1" fmla="*/ 0 h 22923"/>
              <a:gd name="connsiteX2" fmla="*/ 21618 w 21618"/>
              <a:gd name="connsiteY2" fmla="*/ 14779 h 22923"/>
              <a:gd name="connsiteX3" fmla="*/ 12357 w 21618"/>
              <a:gd name="connsiteY3" fmla="*/ 22434 h 22923"/>
              <a:gd name="connsiteX4" fmla="*/ 0 w 21618"/>
              <a:gd name="connsiteY4" fmla="*/ 20172 h 22923"/>
              <a:gd name="connsiteX5" fmla="*/ 0 w 21618"/>
              <a:gd name="connsiteY5" fmla="*/ 0 h 22923"/>
              <a:gd name="connsiteX0" fmla="*/ 0 w 21618"/>
              <a:gd name="connsiteY0" fmla="*/ 0 h 22923"/>
              <a:gd name="connsiteX1" fmla="*/ 21600 w 21618"/>
              <a:gd name="connsiteY1" fmla="*/ 0 h 22923"/>
              <a:gd name="connsiteX2" fmla="*/ 21618 w 21618"/>
              <a:gd name="connsiteY2" fmla="*/ 14779 h 22923"/>
              <a:gd name="connsiteX3" fmla="*/ 12357 w 21618"/>
              <a:gd name="connsiteY3" fmla="*/ 22434 h 22923"/>
              <a:gd name="connsiteX4" fmla="*/ 27 w 21618"/>
              <a:gd name="connsiteY4" fmla="*/ 17871 h 22923"/>
              <a:gd name="connsiteX5" fmla="*/ 0 w 21618"/>
              <a:gd name="connsiteY5" fmla="*/ 0 h 22923"/>
              <a:gd name="connsiteX0" fmla="*/ 0 w 21618"/>
              <a:gd name="connsiteY0" fmla="*/ 0 h 22923"/>
              <a:gd name="connsiteX1" fmla="*/ 21600 w 21618"/>
              <a:gd name="connsiteY1" fmla="*/ 0 h 22923"/>
              <a:gd name="connsiteX2" fmla="*/ 21618 w 21618"/>
              <a:gd name="connsiteY2" fmla="*/ 14779 h 22923"/>
              <a:gd name="connsiteX3" fmla="*/ 12357 w 21618"/>
              <a:gd name="connsiteY3" fmla="*/ 22434 h 22923"/>
              <a:gd name="connsiteX4" fmla="*/ 27 w 21618"/>
              <a:gd name="connsiteY4" fmla="*/ 17871 h 22923"/>
              <a:gd name="connsiteX5" fmla="*/ 0 w 21618"/>
              <a:gd name="connsiteY5" fmla="*/ 0 h 22923"/>
              <a:gd name="connsiteX0" fmla="*/ 0 w 21618"/>
              <a:gd name="connsiteY0" fmla="*/ 0 h 22923"/>
              <a:gd name="connsiteX1" fmla="*/ 21600 w 21618"/>
              <a:gd name="connsiteY1" fmla="*/ 0 h 22923"/>
              <a:gd name="connsiteX2" fmla="*/ 21618 w 21618"/>
              <a:gd name="connsiteY2" fmla="*/ 14779 h 22923"/>
              <a:gd name="connsiteX3" fmla="*/ 12357 w 21618"/>
              <a:gd name="connsiteY3" fmla="*/ 22434 h 22923"/>
              <a:gd name="connsiteX4" fmla="*/ 54 w 21618"/>
              <a:gd name="connsiteY4" fmla="*/ 17671 h 22923"/>
              <a:gd name="connsiteX5" fmla="*/ 0 w 21618"/>
              <a:gd name="connsiteY5" fmla="*/ 0 h 22923"/>
              <a:gd name="connsiteX0" fmla="*/ 0 w 21618"/>
              <a:gd name="connsiteY0" fmla="*/ 0 h 22496"/>
              <a:gd name="connsiteX1" fmla="*/ 21600 w 21618"/>
              <a:gd name="connsiteY1" fmla="*/ 0 h 22496"/>
              <a:gd name="connsiteX2" fmla="*/ 21618 w 21618"/>
              <a:gd name="connsiteY2" fmla="*/ 14779 h 22496"/>
              <a:gd name="connsiteX3" fmla="*/ 12357 w 21618"/>
              <a:gd name="connsiteY3" fmla="*/ 22434 h 22496"/>
              <a:gd name="connsiteX4" fmla="*/ 54 w 21618"/>
              <a:gd name="connsiteY4" fmla="*/ 17671 h 22496"/>
              <a:gd name="connsiteX5" fmla="*/ 0 w 21618"/>
              <a:gd name="connsiteY5" fmla="*/ 0 h 22496"/>
              <a:gd name="connsiteX0" fmla="*/ 0 w 21618"/>
              <a:gd name="connsiteY0" fmla="*/ 0 h 22496"/>
              <a:gd name="connsiteX1" fmla="*/ 21600 w 21618"/>
              <a:gd name="connsiteY1" fmla="*/ 0 h 22496"/>
              <a:gd name="connsiteX2" fmla="*/ 21618 w 21618"/>
              <a:gd name="connsiteY2" fmla="*/ 14779 h 22496"/>
              <a:gd name="connsiteX3" fmla="*/ 12357 w 21618"/>
              <a:gd name="connsiteY3" fmla="*/ 22434 h 22496"/>
              <a:gd name="connsiteX4" fmla="*/ 54 w 21618"/>
              <a:gd name="connsiteY4" fmla="*/ 17671 h 22496"/>
              <a:gd name="connsiteX5" fmla="*/ 0 w 21618"/>
              <a:gd name="connsiteY5" fmla="*/ 0 h 22496"/>
              <a:gd name="connsiteX0" fmla="*/ 0 w 21601"/>
              <a:gd name="connsiteY0" fmla="*/ 0 h 23505"/>
              <a:gd name="connsiteX1" fmla="*/ 21600 w 21601"/>
              <a:gd name="connsiteY1" fmla="*/ 0 h 23505"/>
              <a:gd name="connsiteX2" fmla="*/ 21591 w 21601"/>
              <a:gd name="connsiteY2" fmla="*/ 21783 h 23505"/>
              <a:gd name="connsiteX3" fmla="*/ 12357 w 21601"/>
              <a:gd name="connsiteY3" fmla="*/ 22434 h 23505"/>
              <a:gd name="connsiteX4" fmla="*/ 54 w 21601"/>
              <a:gd name="connsiteY4" fmla="*/ 17671 h 23505"/>
              <a:gd name="connsiteX5" fmla="*/ 0 w 21601"/>
              <a:gd name="connsiteY5" fmla="*/ 0 h 23505"/>
              <a:gd name="connsiteX0" fmla="*/ 0 w 21601"/>
              <a:gd name="connsiteY0" fmla="*/ 0 h 22649"/>
              <a:gd name="connsiteX1" fmla="*/ 21600 w 21601"/>
              <a:gd name="connsiteY1" fmla="*/ 0 h 22649"/>
              <a:gd name="connsiteX2" fmla="*/ 21591 w 21601"/>
              <a:gd name="connsiteY2" fmla="*/ 21783 h 22649"/>
              <a:gd name="connsiteX3" fmla="*/ 12357 w 21601"/>
              <a:gd name="connsiteY3" fmla="*/ 22434 h 22649"/>
              <a:gd name="connsiteX4" fmla="*/ 54 w 21601"/>
              <a:gd name="connsiteY4" fmla="*/ 17671 h 22649"/>
              <a:gd name="connsiteX5" fmla="*/ 0 w 21601"/>
              <a:gd name="connsiteY5" fmla="*/ 0 h 22649"/>
              <a:gd name="connsiteX0" fmla="*/ 0 w 21601"/>
              <a:gd name="connsiteY0" fmla="*/ 0 h 22649"/>
              <a:gd name="connsiteX1" fmla="*/ 21600 w 21601"/>
              <a:gd name="connsiteY1" fmla="*/ 0 h 22649"/>
              <a:gd name="connsiteX2" fmla="*/ 21591 w 21601"/>
              <a:gd name="connsiteY2" fmla="*/ 21783 h 22649"/>
              <a:gd name="connsiteX3" fmla="*/ 12357 w 21601"/>
              <a:gd name="connsiteY3" fmla="*/ 22434 h 22649"/>
              <a:gd name="connsiteX4" fmla="*/ 30 w 21601"/>
              <a:gd name="connsiteY4" fmla="*/ 17671 h 22649"/>
              <a:gd name="connsiteX5" fmla="*/ 0 w 21601"/>
              <a:gd name="connsiteY5" fmla="*/ 0 h 22649"/>
              <a:gd name="connsiteX0" fmla="*/ 0 w 21601"/>
              <a:gd name="connsiteY0" fmla="*/ 0 h 22649"/>
              <a:gd name="connsiteX1" fmla="*/ 21600 w 21601"/>
              <a:gd name="connsiteY1" fmla="*/ 0 h 22649"/>
              <a:gd name="connsiteX2" fmla="*/ 21591 w 21601"/>
              <a:gd name="connsiteY2" fmla="*/ 21783 h 22649"/>
              <a:gd name="connsiteX3" fmla="*/ 12357 w 21601"/>
              <a:gd name="connsiteY3" fmla="*/ 22434 h 22649"/>
              <a:gd name="connsiteX4" fmla="*/ 6 w 21601"/>
              <a:gd name="connsiteY4" fmla="*/ 17694 h 22649"/>
              <a:gd name="connsiteX5" fmla="*/ 0 w 21601"/>
              <a:gd name="connsiteY5" fmla="*/ 0 h 22649"/>
              <a:gd name="connsiteX0" fmla="*/ 0 w 21601"/>
              <a:gd name="connsiteY0" fmla="*/ 0 h 22649"/>
              <a:gd name="connsiteX1" fmla="*/ 21600 w 21601"/>
              <a:gd name="connsiteY1" fmla="*/ 0 h 22649"/>
              <a:gd name="connsiteX2" fmla="*/ 21591 w 21601"/>
              <a:gd name="connsiteY2" fmla="*/ 21783 h 22649"/>
              <a:gd name="connsiteX3" fmla="*/ 12357 w 21601"/>
              <a:gd name="connsiteY3" fmla="*/ 22434 h 22649"/>
              <a:gd name="connsiteX4" fmla="*/ 30 w 21601"/>
              <a:gd name="connsiteY4" fmla="*/ 17717 h 22649"/>
              <a:gd name="connsiteX5" fmla="*/ 0 w 21601"/>
              <a:gd name="connsiteY5" fmla="*/ 0 h 22649"/>
              <a:gd name="connsiteX0" fmla="*/ 0 w 21601"/>
              <a:gd name="connsiteY0" fmla="*/ 0 h 22649"/>
              <a:gd name="connsiteX1" fmla="*/ 21600 w 21601"/>
              <a:gd name="connsiteY1" fmla="*/ 0 h 22649"/>
              <a:gd name="connsiteX2" fmla="*/ 21591 w 21601"/>
              <a:gd name="connsiteY2" fmla="*/ 21783 h 22649"/>
              <a:gd name="connsiteX3" fmla="*/ 12357 w 21601"/>
              <a:gd name="connsiteY3" fmla="*/ 22434 h 22649"/>
              <a:gd name="connsiteX4" fmla="*/ 30 w 21601"/>
              <a:gd name="connsiteY4" fmla="*/ 17717 h 22649"/>
              <a:gd name="connsiteX5" fmla="*/ 0 w 21601"/>
              <a:gd name="connsiteY5" fmla="*/ 0 h 22649"/>
              <a:gd name="connsiteX0" fmla="*/ 0 w 21601"/>
              <a:gd name="connsiteY0" fmla="*/ 0 h 22509"/>
              <a:gd name="connsiteX1" fmla="*/ 21600 w 21601"/>
              <a:gd name="connsiteY1" fmla="*/ 0 h 22509"/>
              <a:gd name="connsiteX2" fmla="*/ 21591 w 21601"/>
              <a:gd name="connsiteY2" fmla="*/ 21783 h 22509"/>
              <a:gd name="connsiteX3" fmla="*/ 12357 w 21601"/>
              <a:gd name="connsiteY3" fmla="*/ 22273 h 22509"/>
              <a:gd name="connsiteX4" fmla="*/ 30 w 21601"/>
              <a:gd name="connsiteY4" fmla="*/ 17717 h 22509"/>
              <a:gd name="connsiteX5" fmla="*/ 0 w 21601"/>
              <a:gd name="connsiteY5" fmla="*/ 0 h 22509"/>
              <a:gd name="connsiteX0" fmla="*/ 0 w 21601"/>
              <a:gd name="connsiteY0" fmla="*/ 0 h 22346"/>
              <a:gd name="connsiteX1" fmla="*/ 21600 w 21601"/>
              <a:gd name="connsiteY1" fmla="*/ 0 h 22346"/>
              <a:gd name="connsiteX2" fmla="*/ 21591 w 21601"/>
              <a:gd name="connsiteY2" fmla="*/ 21783 h 22346"/>
              <a:gd name="connsiteX3" fmla="*/ 12357 w 21601"/>
              <a:gd name="connsiteY3" fmla="*/ 22273 h 22346"/>
              <a:gd name="connsiteX4" fmla="*/ 30 w 21601"/>
              <a:gd name="connsiteY4" fmla="*/ 17717 h 22346"/>
              <a:gd name="connsiteX5" fmla="*/ 0 w 21601"/>
              <a:gd name="connsiteY5" fmla="*/ 0 h 22346"/>
              <a:gd name="connsiteX0" fmla="*/ 0 w 21628"/>
              <a:gd name="connsiteY0" fmla="*/ 0 h 22339"/>
              <a:gd name="connsiteX1" fmla="*/ 21600 w 21628"/>
              <a:gd name="connsiteY1" fmla="*/ 0 h 22339"/>
              <a:gd name="connsiteX2" fmla="*/ 21628 w 21628"/>
              <a:gd name="connsiteY2" fmla="*/ 21691 h 22339"/>
              <a:gd name="connsiteX3" fmla="*/ 12357 w 21628"/>
              <a:gd name="connsiteY3" fmla="*/ 22273 h 22339"/>
              <a:gd name="connsiteX4" fmla="*/ 30 w 21628"/>
              <a:gd name="connsiteY4" fmla="*/ 17717 h 22339"/>
              <a:gd name="connsiteX5" fmla="*/ 0 w 21628"/>
              <a:gd name="connsiteY5" fmla="*/ 0 h 22339"/>
              <a:gd name="connsiteX0" fmla="*/ 0 w 21628"/>
              <a:gd name="connsiteY0" fmla="*/ 0 h 22362"/>
              <a:gd name="connsiteX1" fmla="*/ 21600 w 21628"/>
              <a:gd name="connsiteY1" fmla="*/ 0 h 22362"/>
              <a:gd name="connsiteX2" fmla="*/ 21628 w 21628"/>
              <a:gd name="connsiteY2" fmla="*/ 21691 h 22362"/>
              <a:gd name="connsiteX3" fmla="*/ 12357 w 21628"/>
              <a:gd name="connsiteY3" fmla="*/ 22273 h 22362"/>
              <a:gd name="connsiteX4" fmla="*/ 30 w 21628"/>
              <a:gd name="connsiteY4" fmla="*/ 17717 h 22362"/>
              <a:gd name="connsiteX5" fmla="*/ 0 w 21628"/>
              <a:gd name="connsiteY5" fmla="*/ 0 h 22362"/>
              <a:gd name="connsiteX0" fmla="*/ 0 w 21628"/>
              <a:gd name="connsiteY0" fmla="*/ 0 h 22353"/>
              <a:gd name="connsiteX1" fmla="*/ 21600 w 21628"/>
              <a:gd name="connsiteY1" fmla="*/ 0 h 22353"/>
              <a:gd name="connsiteX2" fmla="*/ 21628 w 21628"/>
              <a:gd name="connsiteY2" fmla="*/ 21691 h 22353"/>
              <a:gd name="connsiteX3" fmla="*/ 12357 w 21628"/>
              <a:gd name="connsiteY3" fmla="*/ 22273 h 22353"/>
              <a:gd name="connsiteX4" fmla="*/ 30 w 21628"/>
              <a:gd name="connsiteY4" fmla="*/ 17717 h 22353"/>
              <a:gd name="connsiteX5" fmla="*/ 0 w 21628"/>
              <a:gd name="connsiteY5" fmla="*/ 0 h 22353"/>
              <a:gd name="connsiteX0" fmla="*/ 0 w 21628"/>
              <a:gd name="connsiteY0" fmla="*/ 0 h 22353"/>
              <a:gd name="connsiteX1" fmla="*/ 21600 w 21628"/>
              <a:gd name="connsiteY1" fmla="*/ 0 h 22353"/>
              <a:gd name="connsiteX2" fmla="*/ 21628 w 21628"/>
              <a:gd name="connsiteY2" fmla="*/ 21691 h 22353"/>
              <a:gd name="connsiteX3" fmla="*/ 12357 w 21628"/>
              <a:gd name="connsiteY3" fmla="*/ 22273 h 22353"/>
              <a:gd name="connsiteX4" fmla="*/ 30 w 21628"/>
              <a:gd name="connsiteY4" fmla="*/ 17717 h 22353"/>
              <a:gd name="connsiteX5" fmla="*/ 0 w 21628"/>
              <a:gd name="connsiteY5" fmla="*/ 0 h 22353"/>
              <a:gd name="connsiteX0" fmla="*/ 0 w 21628"/>
              <a:gd name="connsiteY0" fmla="*/ 0 h 22353"/>
              <a:gd name="connsiteX1" fmla="*/ 21600 w 21628"/>
              <a:gd name="connsiteY1" fmla="*/ 0 h 22353"/>
              <a:gd name="connsiteX2" fmla="*/ 21628 w 21628"/>
              <a:gd name="connsiteY2" fmla="*/ 21691 h 22353"/>
              <a:gd name="connsiteX3" fmla="*/ 12357 w 21628"/>
              <a:gd name="connsiteY3" fmla="*/ 22273 h 22353"/>
              <a:gd name="connsiteX4" fmla="*/ 6 w 21628"/>
              <a:gd name="connsiteY4" fmla="*/ 17625 h 22353"/>
              <a:gd name="connsiteX5" fmla="*/ 0 w 21628"/>
              <a:gd name="connsiteY5" fmla="*/ 0 h 22353"/>
              <a:gd name="connsiteX0" fmla="*/ 0 w 21628"/>
              <a:gd name="connsiteY0" fmla="*/ 0 h 22353"/>
              <a:gd name="connsiteX1" fmla="*/ 21600 w 21628"/>
              <a:gd name="connsiteY1" fmla="*/ 0 h 22353"/>
              <a:gd name="connsiteX2" fmla="*/ 21628 w 21628"/>
              <a:gd name="connsiteY2" fmla="*/ 21691 h 22353"/>
              <a:gd name="connsiteX3" fmla="*/ 12357 w 21628"/>
              <a:gd name="connsiteY3" fmla="*/ 22273 h 22353"/>
              <a:gd name="connsiteX4" fmla="*/ 6 w 21628"/>
              <a:gd name="connsiteY4" fmla="*/ 17625 h 22353"/>
              <a:gd name="connsiteX5" fmla="*/ 0 w 21628"/>
              <a:gd name="connsiteY5" fmla="*/ 0 h 22353"/>
              <a:gd name="connsiteX0" fmla="*/ 0 w 21628"/>
              <a:gd name="connsiteY0" fmla="*/ 0 h 22353"/>
              <a:gd name="connsiteX1" fmla="*/ 21600 w 21628"/>
              <a:gd name="connsiteY1" fmla="*/ 0 h 22353"/>
              <a:gd name="connsiteX2" fmla="*/ 21628 w 21628"/>
              <a:gd name="connsiteY2" fmla="*/ 21691 h 22353"/>
              <a:gd name="connsiteX3" fmla="*/ 12357 w 21628"/>
              <a:gd name="connsiteY3" fmla="*/ 22273 h 22353"/>
              <a:gd name="connsiteX4" fmla="*/ 6 w 21628"/>
              <a:gd name="connsiteY4" fmla="*/ 17625 h 22353"/>
              <a:gd name="connsiteX5" fmla="*/ 0 w 21628"/>
              <a:gd name="connsiteY5" fmla="*/ 0 h 22353"/>
              <a:gd name="connsiteX0" fmla="*/ 0 w 21628"/>
              <a:gd name="connsiteY0" fmla="*/ 0 h 22353"/>
              <a:gd name="connsiteX1" fmla="*/ 21600 w 21628"/>
              <a:gd name="connsiteY1" fmla="*/ 0 h 22353"/>
              <a:gd name="connsiteX2" fmla="*/ 21628 w 21628"/>
              <a:gd name="connsiteY2" fmla="*/ 21691 h 22353"/>
              <a:gd name="connsiteX3" fmla="*/ 12357 w 21628"/>
              <a:gd name="connsiteY3" fmla="*/ 22273 h 22353"/>
              <a:gd name="connsiteX4" fmla="*/ 6 w 21628"/>
              <a:gd name="connsiteY4" fmla="*/ 17625 h 22353"/>
              <a:gd name="connsiteX5" fmla="*/ 0 w 21628"/>
              <a:gd name="connsiteY5" fmla="*/ 0 h 22353"/>
              <a:gd name="connsiteX0" fmla="*/ 0 w 21628"/>
              <a:gd name="connsiteY0" fmla="*/ 0 h 22353"/>
              <a:gd name="connsiteX1" fmla="*/ 21600 w 21628"/>
              <a:gd name="connsiteY1" fmla="*/ 0 h 22353"/>
              <a:gd name="connsiteX2" fmla="*/ 21628 w 21628"/>
              <a:gd name="connsiteY2" fmla="*/ 21691 h 22353"/>
              <a:gd name="connsiteX3" fmla="*/ 12357 w 21628"/>
              <a:gd name="connsiteY3" fmla="*/ 22273 h 22353"/>
              <a:gd name="connsiteX4" fmla="*/ 6 w 21628"/>
              <a:gd name="connsiteY4" fmla="*/ 17625 h 22353"/>
              <a:gd name="connsiteX5" fmla="*/ 0 w 21628"/>
              <a:gd name="connsiteY5" fmla="*/ 0 h 22353"/>
              <a:gd name="connsiteX0" fmla="*/ 0 w 21628"/>
              <a:gd name="connsiteY0" fmla="*/ 0 h 22353"/>
              <a:gd name="connsiteX1" fmla="*/ 21600 w 21628"/>
              <a:gd name="connsiteY1" fmla="*/ 0 h 22353"/>
              <a:gd name="connsiteX2" fmla="*/ 21628 w 21628"/>
              <a:gd name="connsiteY2" fmla="*/ 21691 h 22353"/>
              <a:gd name="connsiteX3" fmla="*/ 12357 w 21628"/>
              <a:gd name="connsiteY3" fmla="*/ 22273 h 22353"/>
              <a:gd name="connsiteX4" fmla="*/ 6 w 21628"/>
              <a:gd name="connsiteY4" fmla="*/ 17625 h 22353"/>
              <a:gd name="connsiteX5" fmla="*/ 0 w 21628"/>
              <a:gd name="connsiteY5" fmla="*/ 0 h 22353"/>
              <a:gd name="connsiteX0" fmla="*/ 0 w 21628"/>
              <a:gd name="connsiteY0" fmla="*/ 32 h 22385"/>
              <a:gd name="connsiteX1" fmla="*/ 20490 w 21628"/>
              <a:gd name="connsiteY1" fmla="*/ 0 h 22385"/>
              <a:gd name="connsiteX2" fmla="*/ 21628 w 21628"/>
              <a:gd name="connsiteY2" fmla="*/ 21723 h 22385"/>
              <a:gd name="connsiteX3" fmla="*/ 12357 w 21628"/>
              <a:gd name="connsiteY3" fmla="*/ 22305 h 22385"/>
              <a:gd name="connsiteX4" fmla="*/ 6 w 21628"/>
              <a:gd name="connsiteY4" fmla="*/ 17657 h 22385"/>
              <a:gd name="connsiteX5" fmla="*/ 0 w 21628"/>
              <a:gd name="connsiteY5" fmla="*/ 32 h 22385"/>
              <a:gd name="connsiteX0" fmla="*/ 0 w 20490"/>
              <a:gd name="connsiteY0" fmla="*/ 32 h 22404"/>
              <a:gd name="connsiteX1" fmla="*/ 20490 w 20490"/>
              <a:gd name="connsiteY1" fmla="*/ 0 h 22404"/>
              <a:gd name="connsiteX2" fmla="*/ 20467 w 20490"/>
              <a:gd name="connsiteY2" fmla="*/ 21884 h 22404"/>
              <a:gd name="connsiteX3" fmla="*/ 12357 w 20490"/>
              <a:gd name="connsiteY3" fmla="*/ 22305 h 22404"/>
              <a:gd name="connsiteX4" fmla="*/ 6 w 20490"/>
              <a:gd name="connsiteY4" fmla="*/ 17657 h 22404"/>
              <a:gd name="connsiteX5" fmla="*/ 0 w 20490"/>
              <a:gd name="connsiteY5" fmla="*/ 32 h 22404"/>
              <a:gd name="connsiteX0" fmla="*/ 0 w 20490"/>
              <a:gd name="connsiteY0" fmla="*/ 32 h 22380"/>
              <a:gd name="connsiteX1" fmla="*/ 20490 w 20490"/>
              <a:gd name="connsiteY1" fmla="*/ 0 h 22380"/>
              <a:gd name="connsiteX2" fmla="*/ 20467 w 20490"/>
              <a:gd name="connsiteY2" fmla="*/ 21884 h 22380"/>
              <a:gd name="connsiteX3" fmla="*/ 12357 w 20490"/>
              <a:gd name="connsiteY3" fmla="*/ 22305 h 22380"/>
              <a:gd name="connsiteX4" fmla="*/ 6 w 20490"/>
              <a:gd name="connsiteY4" fmla="*/ 17657 h 22380"/>
              <a:gd name="connsiteX5" fmla="*/ 0 w 20490"/>
              <a:gd name="connsiteY5" fmla="*/ 32 h 22380"/>
              <a:gd name="connsiteX0" fmla="*/ 0 w 20511"/>
              <a:gd name="connsiteY0" fmla="*/ 32 h 22374"/>
              <a:gd name="connsiteX1" fmla="*/ 20490 w 20511"/>
              <a:gd name="connsiteY1" fmla="*/ 0 h 22374"/>
              <a:gd name="connsiteX2" fmla="*/ 20511 w 20511"/>
              <a:gd name="connsiteY2" fmla="*/ 21801 h 22374"/>
              <a:gd name="connsiteX3" fmla="*/ 12357 w 20511"/>
              <a:gd name="connsiteY3" fmla="*/ 22305 h 22374"/>
              <a:gd name="connsiteX4" fmla="*/ 6 w 20511"/>
              <a:gd name="connsiteY4" fmla="*/ 17657 h 22374"/>
              <a:gd name="connsiteX5" fmla="*/ 0 w 20511"/>
              <a:gd name="connsiteY5" fmla="*/ 32 h 22374"/>
              <a:gd name="connsiteX0" fmla="*/ 0 w 20511"/>
              <a:gd name="connsiteY0" fmla="*/ 32 h 22376"/>
              <a:gd name="connsiteX1" fmla="*/ 20490 w 20511"/>
              <a:gd name="connsiteY1" fmla="*/ 0 h 22376"/>
              <a:gd name="connsiteX2" fmla="*/ 20511 w 20511"/>
              <a:gd name="connsiteY2" fmla="*/ 21829 h 22376"/>
              <a:gd name="connsiteX3" fmla="*/ 12357 w 20511"/>
              <a:gd name="connsiteY3" fmla="*/ 22305 h 22376"/>
              <a:gd name="connsiteX4" fmla="*/ 6 w 20511"/>
              <a:gd name="connsiteY4" fmla="*/ 17657 h 22376"/>
              <a:gd name="connsiteX5" fmla="*/ 0 w 20511"/>
              <a:gd name="connsiteY5" fmla="*/ 32 h 22376"/>
              <a:gd name="connsiteX0" fmla="*/ 0 w 20511"/>
              <a:gd name="connsiteY0" fmla="*/ 32 h 22376"/>
              <a:gd name="connsiteX1" fmla="*/ 20490 w 20511"/>
              <a:gd name="connsiteY1" fmla="*/ 0 h 22376"/>
              <a:gd name="connsiteX2" fmla="*/ 20511 w 20511"/>
              <a:gd name="connsiteY2" fmla="*/ 21829 h 22376"/>
              <a:gd name="connsiteX3" fmla="*/ 12357 w 20511"/>
              <a:gd name="connsiteY3" fmla="*/ 22305 h 22376"/>
              <a:gd name="connsiteX4" fmla="*/ 8766 w 20511"/>
              <a:gd name="connsiteY4" fmla="*/ 21780 h 22376"/>
              <a:gd name="connsiteX5" fmla="*/ 6 w 20511"/>
              <a:gd name="connsiteY5" fmla="*/ 17657 h 22376"/>
              <a:gd name="connsiteX6" fmla="*/ 0 w 20511"/>
              <a:gd name="connsiteY6" fmla="*/ 32 h 22376"/>
              <a:gd name="connsiteX0" fmla="*/ 0 w 20511"/>
              <a:gd name="connsiteY0" fmla="*/ 32 h 22115"/>
              <a:gd name="connsiteX1" fmla="*/ 20490 w 20511"/>
              <a:gd name="connsiteY1" fmla="*/ 0 h 22115"/>
              <a:gd name="connsiteX2" fmla="*/ 20511 w 20511"/>
              <a:gd name="connsiteY2" fmla="*/ 21829 h 22115"/>
              <a:gd name="connsiteX3" fmla="*/ 12477 w 20511"/>
              <a:gd name="connsiteY3" fmla="*/ 21751 h 22115"/>
              <a:gd name="connsiteX4" fmla="*/ 8766 w 20511"/>
              <a:gd name="connsiteY4" fmla="*/ 21780 h 22115"/>
              <a:gd name="connsiteX5" fmla="*/ 6 w 20511"/>
              <a:gd name="connsiteY5" fmla="*/ 17657 h 22115"/>
              <a:gd name="connsiteX6" fmla="*/ 0 w 20511"/>
              <a:gd name="connsiteY6" fmla="*/ 32 h 22115"/>
              <a:gd name="connsiteX0" fmla="*/ 0 w 20511"/>
              <a:gd name="connsiteY0" fmla="*/ 32 h 21926"/>
              <a:gd name="connsiteX1" fmla="*/ 20490 w 20511"/>
              <a:gd name="connsiteY1" fmla="*/ 0 h 21926"/>
              <a:gd name="connsiteX2" fmla="*/ 20511 w 20511"/>
              <a:gd name="connsiteY2" fmla="*/ 21829 h 21926"/>
              <a:gd name="connsiteX3" fmla="*/ 12477 w 20511"/>
              <a:gd name="connsiteY3" fmla="*/ 21751 h 21926"/>
              <a:gd name="connsiteX4" fmla="*/ 8766 w 20511"/>
              <a:gd name="connsiteY4" fmla="*/ 21780 h 21926"/>
              <a:gd name="connsiteX5" fmla="*/ 6 w 20511"/>
              <a:gd name="connsiteY5" fmla="*/ 17657 h 21926"/>
              <a:gd name="connsiteX6" fmla="*/ 0 w 20511"/>
              <a:gd name="connsiteY6" fmla="*/ 32 h 21926"/>
              <a:gd name="connsiteX0" fmla="*/ 0 w 20511"/>
              <a:gd name="connsiteY0" fmla="*/ 32 h 21883"/>
              <a:gd name="connsiteX1" fmla="*/ 20490 w 20511"/>
              <a:gd name="connsiteY1" fmla="*/ 0 h 21883"/>
              <a:gd name="connsiteX2" fmla="*/ 20511 w 20511"/>
              <a:gd name="connsiteY2" fmla="*/ 21829 h 21883"/>
              <a:gd name="connsiteX3" fmla="*/ 12477 w 20511"/>
              <a:gd name="connsiteY3" fmla="*/ 21751 h 21883"/>
              <a:gd name="connsiteX4" fmla="*/ 8766 w 20511"/>
              <a:gd name="connsiteY4" fmla="*/ 21780 h 21883"/>
              <a:gd name="connsiteX5" fmla="*/ 6 w 20511"/>
              <a:gd name="connsiteY5" fmla="*/ 17657 h 21883"/>
              <a:gd name="connsiteX6" fmla="*/ 0 w 20511"/>
              <a:gd name="connsiteY6" fmla="*/ 32 h 21883"/>
              <a:gd name="connsiteX0" fmla="*/ 0 w 20511"/>
              <a:gd name="connsiteY0" fmla="*/ 32 h 21829"/>
              <a:gd name="connsiteX1" fmla="*/ 20490 w 20511"/>
              <a:gd name="connsiteY1" fmla="*/ 0 h 21829"/>
              <a:gd name="connsiteX2" fmla="*/ 20511 w 20511"/>
              <a:gd name="connsiteY2" fmla="*/ 21829 h 21829"/>
              <a:gd name="connsiteX3" fmla="*/ 12477 w 20511"/>
              <a:gd name="connsiteY3" fmla="*/ 21751 h 21829"/>
              <a:gd name="connsiteX4" fmla="*/ 8766 w 20511"/>
              <a:gd name="connsiteY4" fmla="*/ 21780 h 21829"/>
              <a:gd name="connsiteX5" fmla="*/ 6 w 20511"/>
              <a:gd name="connsiteY5" fmla="*/ 17657 h 21829"/>
              <a:gd name="connsiteX6" fmla="*/ 0 w 20511"/>
              <a:gd name="connsiteY6" fmla="*/ 32 h 21829"/>
              <a:gd name="connsiteX0" fmla="*/ 0 w 20511"/>
              <a:gd name="connsiteY0" fmla="*/ 32 h 21829"/>
              <a:gd name="connsiteX1" fmla="*/ 20490 w 20511"/>
              <a:gd name="connsiteY1" fmla="*/ 0 h 21829"/>
              <a:gd name="connsiteX2" fmla="*/ 20511 w 20511"/>
              <a:gd name="connsiteY2" fmla="*/ 21829 h 21829"/>
              <a:gd name="connsiteX3" fmla="*/ 12477 w 20511"/>
              <a:gd name="connsiteY3" fmla="*/ 21751 h 21829"/>
              <a:gd name="connsiteX4" fmla="*/ 8766 w 20511"/>
              <a:gd name="connsiteY4" fmla="*/ 21780 h 21829"/>
              <a:gd name="connsiteX5" fmla="*/ 6 w 20511"/>
              <a:gd name="connsiteY5" fmla="*/ 17657 h 21829"/>
              <a:gd name="connsiteX6" fmla="*/ 0 w 20511"/>
              <a:gd name="connsiteY6" fmla="*/ 32 h 21829"/>
              <a:gd name="connsiteX0" fmla="*/ 0 w 20511"/>
              <a:gd name="connsiteY0" fmla="*/ 32 h 21829"/>
              <a:gd name="connsiteX1" fmla="*/ 20490 w 20511"/>
              <a:gd name="connsiteY1" fmla="*/ 0 h 21829"/>
              <a:gd name="connsiteX2" fmla="*/ 20511 w 20511"/>
              <a:gd name="connsiteY2" fmla="*/ 21829 h 21829"/>
              <a:gd name="connsiteX3" fmla="*/ 12477 w 20511"/>
              <a:gd name="connsiteY3" fmla="*/ 21751 h 21829"/>
              <a:gd name="connsiteX4" fmla="*/ 8766 w 20511"/>
              <a:gd name="connsiteY4" fmla="*/ 21780 h 21829"/>
              <a:gd name="connsiteX5" fmla="*/ 6 w 20511"/>
              <a:gd name="connsiteY5" fmla="*/ 17657 h 21829"/>
              <a:gd name="connsiteX6" fmla="*/ 0 w 20511"/>
              <a:gd name="connsiteY6" fmla="*/ 32 h 21829"/>
              <a:gd name="connsiteX0" fmla="*/ 0 w 20511"/>
              <a:gd name="connsiteY0" fmla="*/ 32 h 21829"/>
              <a:gd name="connsiteX1" fmla="*/ 20490 w 20511"/>
              <a:gd name="connsiteY1" fmla="*/ 0 h 21829"/>
              <a:gd name="connsiteX2" fmla="*/ 20511 w 20511"/>
              <a:gd name="connsiteY2" fmla="*/ 21829 h 21829"/>
              <a:gd name="connsiteX3" fmla="*/ 12477 w 20511"/>
              <a:gd name="connsiteY3" fmla="*/ 21751 h 21829"/>
              <a:gd name="connsiteX4" fmla="*/ 8766 w 20511"/>
              <a:gd name="connsiteY4" fmla="*/ 21780 h 21829"/>
              <a:gd name="connsiteX5" fmla="*/ 6 w 20511"/>
              <a:gd name="connsiteY5" fmla="*/ 17657 h 21829"/>
              <a:gd name="connsiteX6" fmla="*/ 0 w 20511"/>
              <a:gd name="connsiteY6" fmla="*/ 32 h 21829"/>
              <a:gd name="connsiteX0" fmla="*/ 0 w 20511"/>
              <a:gd name="connsiteY0" fmla="*/ 32 h 21780"/>
              <a:gd name="connsiteX1" fmla="*/ 20490 w 20511"/>
              <a:gd name="connsiteY1" fmla="*/ 0 h 21780"/>
              <a:gd name="connsiteX2" fmla="*/ 20511 w 20511"/>
              <a:gd name="connsiteY2" fmla="*/ 21779 h 21780"/>
              <a:gd name="connsiteX3" fmla="*/ 12477 w 20511"/>
              <a:gd name="connsiteY3" fmla="*/ 21751 h 21780"/>
              <a:gd name="connsiteX4" fmla="*/ 8766 w 20511"/>
              <a:gd name="connsiteY4" fmla="*/ 21780 h 21780"/>
              <a:gd name="connsiteX5" fmla="*/ 6 w 20511"/>
              <a:gd name="connsiteY5" fmla="*/ 17657 h 21780"/>
              <a:gd name="connsiteX6" fmla="*/ 0 w 20511"/>
              <a:gd name="connsiteY6" fmla="*/ 32 h 21780"/>
              <a:gd name="connsiteX0" fmla="*/ 0 w 20511"/>
              <a:gd name="connsiteY0" fmla="*/ 32 h 21780"/>
              <a:gd name="connsiteX1" fmla="*/ 20490 w 20511"/>
              <a:gd name="connsiteY1" fmla="*/ 0 h 21780"/>
              <a:gd name="connsiteX2" fmla="*/ 20511 w 20511"/>
              <a:gd name="connsiteY2" fmla="*/ 21779 h 21780"/>
              <a:gd name="connsiteX3" fmla="*/ 12477 w 20511"/>
              <a:gd name="connsiteY3" fmla="*/ 21751 h 21780"/>
              <a:gd name="connsiteX4" fmla="*/ 8766 w 20511"/>
              <a:gd name="connsiteY4" fmla="*/ 21780 h 21780"/>
              <a:gd name="connsiteX5" fmla="*/ 6 w 20511"/>
              <a:gd name="connsiteY5" fmla="*/ 17657 h 21780"/>
              <a:gd name="connsiteX6" fmla="*/ 0 w 20511"/>
              <a:gd name="connsiteY6" fmla="*/ 32 h 21780"/>
              <a:gd name="connsiteX0" fmla="*/ 0 w 20527"/>
              <a:gd name="connsiteY0" fmla="*/ 32 h 21780"/>
              <a:gd name="connsiteX1" fmla="*/ 20527 w 20527"/>
              <a:gd name="connsiteY1" fmla="*/ 0 h 21780"/>
              <a:gd name="connsiteX2" fmla="*/ 20511 w 20527"/>
              <a:gd name="connsiteY2" fmla="*/ 21779 h 21780"/>
              <a:gd name="connsiteX3" fmla="*/ 12477 w 20527"/>
              <a:gd name="connsiteY3" fmla="*/ 21751 h 21780"/>
              <a:gd name="connsiteX4" fmla="*/ 8766 w 20527"/>
              <a:gd name="connsiteY4" fmla="*/ 21780 h 21780"/>
              <a:gd name="connsiteX5" fmla="*/ 6 w 20527"/>
              <a:gd name="connsiteY5" fmla="*/ 17657 h 21780"/>
              <a:gd name="connsiteX6" fmla="*/ 0 w 20527"/>
              <a:gd name="connsiteY6" fmla="*/ 32 h 21780"/>
              <a:gd name="connsiteX0" fmla="*/ 0 w 20512"/>
              <a:gd name="connsiteY0" fmla="*/ 12 h 21760"/>
              <a:gd name="connsiteX1" fmla="*/ 20511 w 20512"/>
              <a:gd name="connsiteY1" fmla="*/ 0 h 21760"/>
              <a:gd name="connsiteX2" fmla="*/ 20511 w 20512"/>
              <a:gd name="connsiteY2" fmla="*/ 21759 h 21760"/>
              <a:gd name="connsiteX3" fmla="*/ 12477 w 20512"/>
              <a:gd name="connsiteY3" fmla="*/ 21731 h 21760"/>
              <a:gd name="connsiteX4" fmla="*/ 8766 w 20512"/>
              <a:gd name="connsiteY4" fmla="*/ 21760 h 21760"/>
              <a:gd name="connsiteX5" fmla="*/ 6 w 20512"/>
              <a:gd name="connsiteY5" fmla="*/ 17637 h 21760"/>
              <a:gd name="connsiteX6" fmla="*/ 0 w 20512"/>
              <a:gd name="connsiteY6" fmla="*/ 12 h 217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512" h="21760">
                <a:moveTo>
                  <a:pt x="0" y="12"/>
                </a:moveTo>
                <a:lnTo>
                  <a:pt x="20511" y="0"/>
                </a:lnTo>
                <a:cubicBezTo>
                  <a:pt x="20517" y="4926"/>
                  <a:pt x="20505" y="16833"/>
                  <a:pt x="20511" y="21759"/>
                </a:cubicBezTo>
                <a:cubicBezTo>
                  <a:pt x="18229" y="21677"/>
                  <a:pt x="17973" y="21747"/>
                  <a:pt x="12477" y="21731"/>
                </a:cubicBezTo>
                <a:cubicBezTo>
                  <a:pt x="10520" y="21723"/>
                  <a:pt x="11293" y="21755"/>
                  <a:pt x="8766" y="21760"/>
                </a:cubicBezTo>
                <a:cubicBezTo>
                  <a:pt x="7135" y="21464"/>
                  <a:pt x="2483" y="20180"/>
                  <a:pt x="6" y="17637"/>
                </a:cubicBezTo>
                <a:cubicBezTo>
                  <a:pt x="-12" y="11747"/>
                  <a:pt x="18" y="5902"/>
                  <a:pt x="0" y="12"/>
                </a:cubicBezTo>
                <a:close/>
              </a:path>
            </a:pathLst>
          </a:custGeom>
        </p:spPr>
        <p:txBody>
          <a:bodyPr/>
          <a:lstStyle/>
          <a:p>
            <a:r>
              <a:rPr lang="en-US" dirty="0"/>
              <a:t>Click icon to add picture</a:t>
            </a:r>
          </a:p>
        </p:txBody>
      </p:sp>
    </p:spTree>
    <p:extLst>
      <p:ext uri="{BB962C8B-B14F-4D97-AF65-F5344CB8AC3E}">
        <p14:creationId xmlns:p14="http://schemas.microsoft.com/office/powerpoint/2010/main" val="186584482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userDrawn="1">
  <p:cSld name="Title + bullets + bigpicture">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C6ACB457-0B7F-4FC2-9099-E39F93390190}"/>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9" imgH="360" progId="TCLayout.ActiveDocument.1">
                  <p:embed/>
                </p:oleObj>
              </mc:Choice>
              <mc:Fallback>
                <p:oleObj name="think-cell Slide" r:id="rId4" imgW="359" imgH="360" progId="TCLayout.ActiveDocument.1">
                  <p:embed/>
                  <p:pic>
                    <p:nvPicPr>
                      <p:cNvPr id="7" name="Object 6" hidden="1">
                        <a:extLst>
                          <a:ext uri="{FF2B5EF4-FFF2-40B4-BE49-F238E27FC236}">
                            <a16:creationId xmlns:a16="http://schemas.microsoft.com/office/drawing/2014/main" id="{C6ACB457-0B7F-4FC2-9099-E39F9339019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1C46262B-283C-449D-9EDF-74B1A6E787DB}"/>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800" b="1" i="0" baseline="0" dirty="0">
              <a:latin typeface="Century Gothic" panose="020B0502020202020204" pitchFamily="34" charset="0"/>
              <a:ea typeface="+mj-ea"/>
              <a:cs typeface="+mj-cs"/>
              <a:sym typeface="Century Gothic" panose="020B0502020202020204" pitchFamily="34" charset="0"/>
            </a:endParaRPr>
          </a:p>
        </p:txBody>
      </p:sp>
      <p:sp>
        <p:nvSpPr>
          <p:cNvPr id="10" name="Content Placeholder 2">
            <a:extLst>
              <a:ext uri="{FF2B5EF4-FFF2-40B4-BE49-F238E27FC236}">
                <a16:creationId xmlns:a16="http://schemas.microsoft.com/office/drawing/2014/main" id="{952D79EC-FA3B-8846-883B-68C7812170DD}"/>
              </a:ext>
            </a:extLst>
          </p:cNvPr>
          <p:cNvSpPr>
            <a:spLocks noGrp="1"/>
          </p:cNvSpPr>
          <p:nvPr>
            <p:ph idx="10" hasCustomPrompt="1"/>
          </p:nvPr>
        </p:nvSpPr>
        <p:spPr>
          <a:xfrm>
            <a:off x="838201" y="1605600"/>
            <a:ext cx="2541607" cy="3865635"/>
          </a:xfrm>
          <a:prstGeom prst="rect">
            <a:avLst/>
          </a:prstGeom>
        </p:spPr>
        <p:txBody>
          <a:bodyPr lIns="0"/>
          <a:lstStyle>
            <a:lvl1pPr marL="241294" indent="-241294">
              <a:lnSpc>
                <a:spcPct val="100000"/>
              </a:lnSpc>
              <a:spcAft>
                <a:spcPts val="500"/>
              </a:spcAft>
              <a:buFont typeface="Arial" pitchFamily="34" charset="0"/>
              <a:buChar char="•"/>
              <a:defRPr sz="1867" b="0" i="0">
                <a:solidFill>
                  <a:srgbClr val="000000"/>
                </a:solidFill>
                <a:latin typeface="Century Gothic" panose="020B0502020202020204" pitchFamily="34" charset="0"/>
              </a:defRPr>
            </a:lvl1pPr>
            <a:lvl2pPr marL="719649" indent="-251878">
              <a:lnSpc>
                <a:spcPct val="100000"/>
              </a:lnSpc>
              <a:spcBef>
                <a:spcPts val="1333"/>
              </a:spcBef>
              <a:spcAft>
                <a:spcPts val="500"/>
              </a:spcAft>
              <a:buFont typeface="Arial" pitchFamily="34" charset="0"/>
              <a:buChar char="−"/>
              <a:defRPr sz="1733" b="0" i="0">
                <a:solidFill>
                  <a:srgbClr val="000000"/>
                </a:solidFill>
                <a:latin typeface="Century Gothic" panose="020B0502020202020204" pitchFamily="34" charset="0"/>
              </a:defRPr>
            </a:lvl2pPr>
            <a:lvl3pPr marL="1312301" indent="-237061">
              <a:lnSpc>
                <a:spcPct val="100000"/>
              </a:lnSpc>
              <a:spcBef>
                <a:spcPts val="1067"/>
              </a:spcBef>
              <a:spcAft>
                <a:spcPts val="500"/>
              </a:spcAft>
              <a:buFont typeface="Arial" pitchFamily="34" charset="0"/>
              <a:buChar char="»"/>
              <a:defRPr sz="1600" b="0" i="0">
                <a:solidFill>
                  <a:srgbClr val="000000"/>
                </a:solidFill>
                <a:latin typeface="Century Gothic" panose="020B0502020202020204" pitchFamily="34" charset="0"/>
              </a:defRPr>
            </a:lvl3pPr>
            <a:lvl4pPr marL="1786422" indent="-283626">
              <a:lnSpc>
                <a:spcPct val="100000"/>
              </a:lnSpc>
              <a:spcBef>
                <a:spcPts val="800"/>
              </a:spcBef>
              <a:spcAft>
                <a:spcPts val="500"/>
              </a:spcAft>
              <a:buFont typeface="Century Gothic" panose="020B0502020202020204" pitchFamily="34" charset="0"/>
              <a:buChar char="&gt;"/>
              <a:defRPr sz="1467" b="0" i="0">
                <a:solidFill>
                  <a:srgbClr val="000000"/>
                </a:solidFill>
                <a:latin typeface="Century Gothic" panose="020B0502020202020204" pitchFamily="34" charset="0"/>
              </a:defRPr>
            </a:lvl4pPr>
            <a:lvl5pPr marL="2264777" indent="-112181">
              <a:lnSpc>
                <a:spcPct val="100000"/>
              </a:lnSpc>
              <a:spcBef>
                <a:spcPts val="800"/>
              </a:spcBef>
              <a:spcAft>
                <a:spcPts val="500"/>
              </a:spcAft>
              <a:buFont typeface="Arial" pitchFamily="34" charset="0"/>
              <a:buChar char="-"/>
              <a:defRPr sz="1333" b="0" i="0">
                <a:solidFill>
                  <a:srgbClr val="000000"/>
                </a:solidFill>
                <a:latin typeface="Century Gothic" panose="020B0502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itle 4">
            <a:extLst>
              <a:ext uri="{FF2B5EF4-FFF2-40B4-BE49-F238E27FC236}">
                <a16:creationId xmlns:a16="http://schemas.microsoft.com/office/drawing/2014/main" id="{FE8A6C16-0D01-4268-ACEC-14DF38647E6F}"/>
              </a:ext>
            </a:extLst>
          </p:cNvPr>
          <p:cNvSpPr>
            <a:spLocks noGrp="1"/>
          </p:cNvSpPr>
          <p:nvPr>
            <p:ph type="title"/>
          </p:nvPr>
        </p:nvSpPr>
        <p:spPr/>
        <p:txBody>
          <a:bodyPr lIns="0"/>
          <a:lstStyle/>
          <a:p>
            <a:r>
              <a:rPr lang="en-US"/>
              <a:t>Click to edit Master title style</a:t>
            </a:r>
            <a:endParaRPr lang="en-GB" dirty="0"/>
          </a:p>
        </p:txBody>
      </p:sp>
      <p:sp>
        <p:nvSpPr>
          <p:cNvPr id="8" name="Footer Placeholder 5">
            <a:extLst>
              <a:ext uri="{FF2B5EF4-FFF2-40B4-BE49-F238E27FC236}">
                <a16:creationId xmlns:a16="http://schemas.microsoft.com/office/drawing/2014/main" id="{15633107-9211-4C88-BB89-8B194EA363DD}"/>
              </a:ext>
            </a:extLst>
          </p:cNvPr>
          <p:cNvSpPr>
            <a:spLocks noGrp="1"/>
          </p:cNvSpPr>
          <p:nvPr>
            <p:ph type="ftr" sz="quarter" idx="3"/>
          </p:nvPr>
        </p:nvSpPr>
        <p:spPr>
          <a:xfrm>
            <a:off x="838199" y="6582936"/>
            <a:ext cx="8642367" cy="257101"/>
          </a:xfrm>
          <a:prstGeom prst="rect">
            <a:avLst/>
          </a:prstGeom>
        </p:spPr>
        <p:txBody>
          <a:bodyPr vert="horz" lIns="91440" tIns="45720" rIns="91440" bIns="45720" rtlCol="0" anchor="ctr"/>
          <a:lstStyle>
            <a:lvl1pPr algn="l">
              <a:defRPr sz="900">
                <a:solidFill>
                  <a:srgbClr val="5F5F5F"/>
                </a:solidFill>
              </a:defRPr>
            </a:lvl1pPr>
          </a:lstStyle>
          <a:p>
            <a:endParaRPr lang="en-GB" dirty="0"/>
          </a:p>
        </p:txBody>
      </p:sp>
      <p:sp>
        <p:nvSpPr>
          <p:cNvPr id="9" name="Picture Placeholder 4">
            <a:extLst>
              <a:ext uri="{FF2B5EF4-FFF2-40B4-BE49-F238E27FC236}">
                <a16:creationId xmlns:a16="http://schemas.microsoft.com/office/drawing/2014/main" id="{8C55B8BC-58F2-054B-8509-0CD5FCE8AAA9}"/>
              </a:ext>
            </a:extLst>
          </p:cNvPr>
          <p:cNvSpPr>
            <a:spLocks noGrp="1"/>
          </p:cNvSpPr>
          <p:nvPr>
            <p:ph type="pic" sz="quarter" idx="13"/>
          </p:nvPr>
        </p:nvSpPr>
        <p:spPr>
          <a:xfrm>
            <a:off x="3680316" y="1462290"/>
            <a:ext cx="8517485" cy="5402412"/>
          </a:xfrm>
          <a:custGeom>
            <a:avLst/>
            <a:gdLst>
              <a:gd name="connsiteX0" fmla="*/ 0 w 5984875"/>
              <a:gd name="connsiteY0" fmla="*/ 0 h 6858000"/>
              <a:gd name="connsiteX1" fmla="*/ 5984875 w 5984875"/>
              <a:gd name="connsiteY1" fmla="*/ 0 h 6858000"/>
              <a:gd name="connsiteX2" fmla="*/ 5984875 w 5984875"/>
              <a:gd name="connsiteY2" fmla="*/ 6858000 h 6858000"/>
              <a:gd name="connsiteX3" fmla="*/ 0 w 5984875"/>
              <a:gd name="connsiteY3" fmla="*/ 6858000 h 6858000"/>
              <a:gd name="connsiteX4" fmla="*/ 0 w 5984875"/>
              <a:gd name="connsiteY4" fmla="*/ 0 h 6858000"/>
              <a:gd name="connsiteX0" fmla="*/ 985520 w 5984875"/>
              <a:gd name="connsiteY0" fmla="*/ 934720 h 6858000"/>
              <a:gd name="connsiteX1" fmla="*/ 5984875 w 5984875"/>
              <a:gd name="connsiteY1" fmla="*/ 0 h 6858000"/>
              <a:gd name="connsiteX2" fmla="*/ 5984875 w 5984875"/>
              <a:gd name="connsiteY2" fmla="*/ 6858000 h 6858000"/>
              <a:gd name="connsiteX3" fmla="*/ 0 w 5984875"/>
              <a:gd name="connsiteY3" fmla="*/ 6858000 h 6858000"/>
              <a:gd name="connsiteX4" fmla="*/ 985520 w 5984875"/>
              <a:gd name="connsiteY4" fmla="*/ 934720 h 6858000"/>
              <a:gd name="connsiteX0" fmla="*/ 985520 w 5984875"/>
              <a:gd name="connsiteY0" fmla="*/ 934720 h 6858000"/>
              <a:gd name="connsiteX1" fmla="*/ 5984875 w 5984875"/>
              <a:gd name="connsiteY1" fmla="*/ 0 h 6858000"/>
              <a:gd name="connsiteX2" fmla="*/ 5984875 w 5984875"/>
              <a:gd name="connsiteY2" fmla="*/ 6858000 h 6858000"/>
              <a:gd name="connsiteX3" fmla="*/ 0 w 5984875"/>
              <a:gd name="connsiteY3" fmla="*/ 6858000 h 6858000"/>
              <a:gd name="connsiteX4" fmla="*/ 985520 w 5984875"/>
              <a:gd name="connsiteY4" fmla="*/ 934720 h 6858000"/>
              <a:gd name="connsiteX0" fmla="*/ 985520 w 5984875"/>
              <a:gd name="connsiteY0" fmla="*/ 934720 h 6858000"/>
              <a:gd name="connsiteX1" fmla="*/ 5984875 w 5984875"/>
              <a:gd name="connsiteY1" fmla="*/ 0 h 6858000"/>
              <a:gd name="connsiteX2" fmla="*/ 5984875 w 5984875"/>
              <a:gd name="connsiteY2" fmla="*/ 6858000 h 6858000"/>
              <a:gd name="connsiteX3" fmla="*/ 0 w 5984875"/>
              <a:gd name="connsiteY3" fmla="*/ 6858000 h 6858000"/>
              <a:gd name="connsiteX4" fmla="*/ 985520 w 5984875"/>
              <a:gd name="connsiteY4" fmla="*/ 934720 h 6858000"/>
              <a:gd name="connsiteX0" fmla="*/ 138915 w 5138270"/>
              <a:gd name="connsiteY0" fmla="*/ 934720 h 6858000"/>
              <a:gd name="connsiteX1" fmla="*/ 5138270 w 5138270"/>
              <a:gd name="connsiteY1" fmla="*/ 0 h 6858000"/>
              <a:gd name="connsiteX2" fmla="*/ 5138270 w 5138270"/>
              <a:gd name="connsiteY2" fmla="*/ 6858000 h 6858000"/>
              <a:gd name="connsiteX3" fmla="*/ 2353795 w 5138270"/>
              <a:gd name="connsiteY3" fmla="*/ 6817360 h 6858000"/>
              <a:gd name="connsiteX4" fmla="*/ 138915 w 5138270"/>
              <a:gd name="connsiteY4" fmla="*/ 934720 h 6858000"/>
              <a:gd name="connsiteX0" fmla="*/ 185806 w 5185161"/>
              <a:gd name="connsiteY0" fmla="*/ 934720 h 6858000"/>
              <a:gd name="connsiteX1" fmla="*/ 5185161 w 5185161"/>
              <a:gd name="connsiteY1" fmla="*/ 0 h 6858000"/>
              <a:gd name="connsiteX2" fmla="*/ 5185161 w 5185161"/>
              <a:gd name="connsiteY2" fmla="*/ 6858000 h 6858000"/>
              <a:gd name="connsiteX3" fmla="*/ 2400686 w 5185161"/>
              <a:gd name="connsiteY3" fmla="*/ 6817360 h 6858000"/>
              <a:gd name="connsiteX4" fmla="*/ 185806 w 5185161"/>
              <a:gd name="connsiteY4" fmla="*/ 934720 h 6858000"/>
              <a:gd name="connsiteX0" fmla="*/ 185806 w 5185161"/>
              <a:gd name="connsiteY0" fmla="*/ 934720 h 7178781"/>
              <a:gd name="connsiteX1" fmla="*/ 5185161 w 5185161"/>
              <a:gd name="connsiteY1" fmla="*/ 0 h 7178781"/>
              <a:gd name="connsiteX2" fmla="*/ 5185161 w 5185161"/>
              <a:gd name="connsiteY2" fmla="*/ 6858000 h 7178781"/>
              <a:gd name="connsiteX3" fmla="*/ 2400686 w 5185161"/>
              <a:gd name="connsiteY3" fmla="*/ 6817360 h 7178781"/>
              <a:gd name="connsiteX4" fmla="*/ 185806 w 5185161"/>
              <a:gd name="connsiteY4" fmla="*/ 934720 h 7178781"/>
              <a:gd name="connsiteX0" fmla="*/ 209732 w 5209087"/>
              <a:gd name="connsiteY0" fmla="*/ 934720 h 6858000"/>
              <a:gd name="connsiteX1" fmla="*/ 5209087 w 5209087"/>
              <a:gd name="connsiteY1" fmla="*/ 0 h 6858000"/>
              <a:gd name="connsiteX2" fmla="*/ 5209087 w 5209087"/>
              <a:gd name="connsiteY2" fmla="*/ 6858000 h 6858000"/>
              <a:gd name="connsiteX3" fmla="*/ 2079172 w 5209087"/>
              <a:gd name="connsiteY3" fmla="*/ 5750560 h 6858000"/>
              <a:gd name="connsiteX4" fmla="*/ 209732 w 5209087"/>
              <a:gd name="connsiteY4" fmla="*/ 934720 h 6858000"/>
              <a:gd name="connsiteX0" fmla="*/ 209732 w 5209087"/>
              <a:gd name="connsiteY0" fmla="*/ 934720 h 6858000"/>
              <a:gd name="connsiteX1" fmla="*/ 5209087 w 5209087"/>
              <a:gd name="connsiteY1" fmla="*/ 0 h 6858000"/>
              <a:gd name="connsiteX2" fmla="*/ 5209087 w 5209087"/>
              <a:gd name="connsiteY2" fmla="*/ 6858000 h 6858000"/>
              <a:gd name="connsiteX3" fmla="*/ 2079172 w 5209087"/>
              <a:gd name="connsiteY3" fmla="*/ 5750560 h 6858000"/>
              <a:gd name="connsiteX4" fmla="*/ 209732 w 5209087"/>
              <a:gd name="connsiteY4" fmla="*/ 934720 h 6858000"/>
              <a:gd name="connsiteX0" fmla="*/ 209732 w 5209087"/>
              <a:gd name="connsiteY0" fmla="*/ 934720 h 6532894"/>
              <a:gd name="connsiteX1" fmla="*/ 5209087 w 5209087"/>
              <a:gd name="connsiteY1" fmla="*/ 0 h 6532894"/>
              <a:gd name="connsiteX2" fmla="*/ 5178607 w 5209087"/>
              <a:gd name="connsiteY2" fmla="*/ 6421120 h 6532894"/>
              <a:gd name="connsiteX3" fmla="*/ 2079172 w 5209087"/>
              <a:gd name="connsiteY3" fmla="*/ 5750560 h 6532894"/>
              <a:gd name="connsiteX4" fmla="*/ 209732 w 5209087"/>
              <a:gd name="connsiteY4" fmla="*/ 934720 h 6532894"/>
              <a:gd name="connsiteX0" fmla="*/ 209732 w 5209087"/>
              <a:gd name="connsiteY0" fmla="*/ 934720 h 6749333"/>
              <a:gd name="connsiteX1" fmla="*/ 5209087 w 5209087"/>
              <a:gd name="connsiteY1" fmla="*/ 0 h 6749333"/>
              <a:gd name="connsiteX2" fmla="*/ 5178607 w 5209087"/>
              <a:gd name="connsiteY2" fmla="*/ 6421120 h 6749333"/>
              <a:gd name="connsiteX3" fmla="*/ 2079172 w 5209087"/>
              <a:gd name="connsiteY3" fmla="*/ 5750560 h 6749333"/>
              <a:gd name="connsiteX4" fmla="*/ 209732 w 5209087"/>
              <a:gd name="connsiteY4" fmla="*/ 934720 h 6749333"/>
              <a:gd name="connsiteX0" fmla="*/ 209732 w 5209087"/>
              <a:gd name="connsiteY0" fmla="*/ 934720 h 6755918"/>
              <a:gd name="connsiteX1" fmla="*/ 5209087 w 5209087"/>
              <a:gd name="connsiteY1" fmla="*/ 0 h 6755918"/>
              <a:gd name="connsiteX2" fmla="*/ 5198927 w 5209087"/>
              <a:gd name="connsiteY2" fmla="*/ 6431280 h 6755918"/>
              <a:gd name="connsiteX3" fmla="*/ 2079172 w 5209087"/>
              <a:gd name="connsiteY3" fmla="*/ 5750560 h 6755918"/>
              <a:gd name="connsiteX4" fmla="*/ 209732 w 5209087"/>
              <a:gd name="connsiteY4" fmla="*/ 934720 h 6755918"/>
              <a:gd name="connsiteX0" fmla="*/ 254624 w 4776459"/>
              <a:gd name="connsiteY0" fmla="*/ 2032000 h 6755918"/>
              <a:gd name="connsiteX1" fmla="*/ 4776459 w 4776459"/>
              <a:gd name="connsiteY1" fmla="*/ 0 h 6755918"/>
              <a:gd name="connsiteX2" fmla="*/ 4766299 w 4776459"/>
              <a:gd name="connsiteY2" fmla="*/ 6431280 h 6755918"/>
              <a:gd name="connsiteX3" fmla="*/ 1646544 w 4776459"/>
              <a:gd name="connsiteY3" fmla="*/ 5750560 h 6755918"/>
              <a:gd name="connsiteX4" fmla="*/ 254624 w 4776459"/>
              <a:gd name="connsiteY4" fmla="*/ 2032000 h 6755918"/>
              <a:gd name="connsiteX0" fmla="*/ 172887 w 4694722"/>
              <a:gd name="connsiteY0" fmla="*/ 2032000 h 6755918"/>
              <a:gd name="connsiteX1" fmla="*/ 4694722 w 4694722"/>
              <a:gd name="connsiteY1" fmla="*/ 0 h 6755918"/>
              <a:gd name="connsiteX2" fmla="*/ 4684562 w 4694722"/>
              <a:gd name="connsiteY2" fmla="*/ 6431280 h 6755918"/>
              <a:gd name="connsiteX3" fmla="*/ 1564807 w 4694722"/>
              <a:gd name="connsiteY3" fmla="*/ 5750560 h 6755918"/>
              <a:gd name="connsiteX4" fmla="*/ 172887 w 4694722"/>
              <a:gd name="connsiteY4" fmla="*/ 2032000 h 6755918"/>
              <a:gd name="connsiteX0" fmla="*/ 165329 w 4687164"/>
              <a:gd name="connsiteY0" fmla="*/ 2032000 h 6755918"/>
              <a:gd name="connsiteX1" fmla="*/ 4687164 w 4687164"/>
              <a:gd name="connsiteY1" fmla="*/ 0 h 6755918"/>
              <a:gd name="connsiteX2" fmla="*/ 4677004 w 4687164"/>
              <a:gd name="connsiteY2" fmla="*/ 6431280 h 6755918"/>
              <a:gd name="connsiteX3" fmla="*/ 1557249 w 4687164"/>
              <a:gd name="connsiteY3" fmla="*/ 5750560 h 6755918"/>
              <a:gd name="connsiteX4" fmla="*/ 165329 w 4687164"/>
              <a:gd name="connsiteY4" fmla="*/ 2032000 h 6755918"/>
              <a:gd name="connsiteX0" fmla="*/ 248236 w 4770071"/>
              <a:gd name="connsiteY0" fmla="*/ 2032000 h 6924679"/>
              <a:gd name="connsiteX1" fmla="*/ 4770071 w 4770071"/>
              <a:gd name="connsiteY1" fmla="*/ 0 h 6924679"/>
              <a:gd name="connsiteX2" fmla="*/ 4759911 w 4770071"/>
              <a:gd name="connsiteY2" fmla="*/ 6431280 h 6924679"/>
              <a:gd name="connsiteX3" fmla="*/ 979756 w 4770071"/>
              <a:gd name="connsiteY3" fmla="*/ 6136640 h 6924679"/>
              <a:gd name="connsiteX4" fmla="*/ 248236 w 4770071"/>
              <a:gd name="connsiteY4" fmla="*/ 2032000 h 6924679"/>
              <a:gd name="connsiteX0" fmla="*/ 248236 w 4770071"/>
              <a:gd name="connsiteY0" fmla="*/ 2032000 h 6652732"/>
              <a:gd name="connsiteX1" fmla="*/ 4770071 w 4770071"/>
              <a:gd name="connsiteY1" fmla="*/ 0 h 6652732"/>
              <a:gd name="connsiteX2" fmla="*/ 4759911 w 4770071"/>
              <a:gd name="connsiteY2" fmla="*/ 6431280 h 6652732"/>
              <a:gd name="connsiteX3" fmla="*/ 979756 w 4770071"/>
              <a:gd name="connsiteY3" fmla="*/ 6136640 h 6652732"/>
              <a:gd name="connsiteX4" fmla="*/ 248236 w 4770071"/>
              <a:gd name="connsiteY4" fmla="*/ 2032000 h 6652732"/>
              <a:gd name="connsiteX0" fmla="*/ 253917 w 4775752"/>
              <a:gd name="connsiteY0" fmla="*/ 2032000 h 6697921"/>
              <a:gd name="connsiteX1" fmla="*/ 4775752 w 4775752"/>
              <a:gd name="connsiteY1" fmla="*/ 0 h 6697921"/>
              <a:gd name="connsiteX2" fmla="*/ 4765592 w 4775752"/>
              <a:gd name="connsiteY2" fmla="*/ 6431280 h 6697921"/>
              <a:gd name="connsiteX3" fmla="*/ 954957 w 4775752"/>
              <a:gd name="connsiteY3" fmla="*/ 6299200 h 6697921"/>
              <a:gd name="connsiteX4" fmla="*/ 253917 w 4775752"/>
              <a:gd name="connsiteY4" fmla="*/ 2032000 h 6697921"/>
              <a:gd name="connsiteX0" fmla="*/ 240761 w 4762596"/>
              <a:gd name="connsiteY0" fmla="*/ 2032000 h 6697921"/>
              <a:gd name="connsiteX1" fmla="*/ 4762596 w 4762596"/>
              <a:gd name="connsiteY1" fmla="*/ 0 h 6697921"/>
              <a:gd name="connsiteX2" fmla="*/ 4752436 w 4762596"/>
              <a:gd name="connsiteY2" fmla="*/ 6431280 h 6697921"/>
              <a:gd name="connsiteX3" fmla="*/ 941801 w 4762596"/>
              <a:gd name="connsiteY3" fmla="*/ 6299200 h 6697921"/>
              <a:gd name="connsiteX4" fmla="*/ 240761 w 4762596"/>
              <a:gd name="connsiteY4" fmla="*/ 2032000 h 6697921"/>
              <a:gd name="connsiteX0" fmla="*/ 240761 w 4762596"/>
              <a:gd name="connsiteY0" fmla="*/ 2032000 h 6697921"/>
              <a:gd name="connsiteX1" fmla="*/ 4762596 w 4762596"/>
              <a:gd name="connsiteY1" fmla="*/ 0 h 6697921"/>
              <a:gd name="connsiteX2" fmla="*/ 4752436 w 4762596"/>
              <a:gd name="connsiteY2" fmla="*/ 6431280 h 6697921"/>
              <a:gd name="connsiteX3" fmla="*/ 941801 w 4762596"/>
              <a:gd name="connsiteY3" fmla="*/ 6299200 h 6697921"/>
              <a:gd name="connsiteX4" fmla="*/ 240761 w 4762596"/>
              <a:gd name="connsiteY4" fmla="*/ 2032000 h 6697921"/>
              <a:gd name="connsiteX0" fmla="*/ 230556 w 4813351"/>
              <a:gd name="connsiteY0" fmla="*/ 3088640 h 6697921"/>
              <a:gd name="connsiteX1" fmla="*/ 4813351 w 4813351"/>
              <a:gd name="connsiteY1" fmla="*/ 0 h 6697921"/>
              <a:gd name="connsiteX2" fmla="*/ 4803191 w 4813351"/>
              <a:gd name="connsiteY2" fmla="*/ 6431280 h 6697921"/>
              <a:gd name="connsiteX3" fmla="*/ 992556 w 4813351"/>
              <a:gd name="connsiteY3" fmla="*/ 6299200 h 6697921"/>
              <a:gd name="connsiteX4" fmla="*/ 230556 w 4813351"/>
              <a:gd name="connsiteY4" fmla="*/ 3088640 h 6697921"/>
              <a:gd name="connsiteX0" fmla="*/ 359309 w 4403624"/>
              <a:gd name="connsiteY0" fmla="*/ 666163 h 7262484"/>
              <a:gd name="connsiteX1" fmla="*/ 4403624 w 4403624"/>
              <a:gd name="connsiteY1" fmla="*/ 564563 h 7262484"/>
              <a:gd name="connsiteX2" fmla="*/ 4393464 w 4403624"/>
              <a:gd name="connsiteY2" fmla="*/ 6995843 h 7262484"/>
              <a:gd name="connsiteX3" fmla="*/ 582829 w 4403624"/>
              <a:gd name="connsiteY3" fmla="*/ 6863763 h 7262484"/>
              <a:gd name="connsiteX4" fmla="*/ 359309 w 4403624"/>
              <a:gd name="connsiteY4" fmla="*/ 666163 h 7262484"/>
              <a:gd name="connsiteX0" fmla="*/ 359309 w 4403624"/>
              <a:gd name="connsiteY0" fmla="*/ 101600 h 6697921"/>
              <a:gd name="connsiteX1" fmla="*/ 4403624 w 4403624"/>
              <a:gd name="connsiteY1" fmla="*/ 0 h 6697921"/>
              <a:gd name="connsiteX2" fmla="*/ 4393464 w 4403624"/>
              <a:gd name="connsiteY2" fmla="*/ 6431280 h 6697921"/>
              <a:gd name="connsiteX3" fmla="*/ 582829 w 4403624"/>
              <a:gd name="connsiteY3" fmla="*/ 6299200 h 6697921"/>
              <a:gd name="connsiteX4" fmla="*/ 359309 w 4403624"/>
              <a:gd name="connsiteY4" fmla="*/ 101600 h 6697921"/>
              <a:gd name="connsiteX0" fmla="*/ 359309 w 4403624"/>
              <a:gd name="connsiteY0" fmla="*/ 140658 h 6736979"/>
              <a:gd name="connsiteX1" fmla="*/ 4403624 w 4403624"/>
              <a:gd name="connsiteY1" fmla="*/ 39058 h 6736979"/>
              <a:gd name="connsiteX2" fmla="*/ 4393464 w 4403624"/>
              <a:gd name="connsiteY2" fmla="*/ 6470338 h 6736979"/>
              <a:gd name="connsiteX3" fmla="*/ 582829 w 4403624"/>
              <a:gd name="connsiteY3" fmla="*/ 6338258 h 6736979"/>
              <a:gd name="connsiteX4" fmla="*/ 359309 w 4403624"/>
              <a:gd name="connsiteY4" fmla="*/ 140658 h 6736979"/>
              <a:gd name="connsiteX0" fmla="*/ 359309 w 4403624"/>
              <a:gd name="connsiteY0" fmla="*/ 101600 h 6697921"/>
              <a:gd name="connsiteX1" fmla="*/ 4403624 w 4403624"/>
              <a:gd name="connsiteY1" fmla="*/ 0 h 6697921"/>
              <a:gd name="connsiteX2" fmla="*/ 4393464 w 4403624"/>
              <a:gd name="connsiteY2" fmla="*/ 6431280 h 6697921"/>
              <a:gd name="connsiteX3" fmla="*/ 582829 w 4403624"/>
              <a:gd name="connsiteY3" fmla="*/ 6299200 h 6697921"/>
              <a:gd name="connsiteX4" fmla="*/ 359309 w 4403624"/>
              <a:gd name="connsiteY4" fmla="*/ 101600 h 6697921"/>
              <a:gd name="connsiteX0" fmla="*/ 459916 w 4260391"/>
              <a:gd name="connsiteY0" fmla="*/ 44631 h 6752712"/>
              <a:gd name="connsiteX1" fmla="*/ 4260391 w 4260391"/>
              <a:gd name="connsiteY1" fmla="*/ 54791 h 6752712"/>
              <a:gd name="connsiteX2" fmla="*/ 4250231 w 4260391"/>
              <a:gd name="connsiteY2" fmla="*/ 6486071 h 6752712"/>
              <a:gd name="connsiteX3" fmla="*/ 439596 w 4260391"/>
              <a:gd name="connsiteY3" fmla="*/ 6353991 h 6752712"/>
              <a:gd name="connsiteX4" fmla="*/ 459916 w 4260391"/>
              <a:gd name="connsiteY4" fmla="*/ 44631 h 6752712"/>
              <a:gd name="connsiteX0" fmla="*/ 459916 w 4260391"/>
              <a:gd name="connsiteY0" fmla="*/ 8208 h 6716289"/>
              <a:gd name="connsiteX1" fmla="*/ 4260391 w 4260391"/>
              <a:gd name="connsiteY1" fmla="*/ 18368 h 6716289"/>
              <a:gd name="connsiteX2" fmla="*/ 4250231 w 4260391"/>
              <a:gd name="connsiteY2" fmla="*/ 6449648 h 6716289"/>
              <a:gd name="connsiteX3" fmla="*/ 439596 w 4260391"/>
              <a:gd name="connsiteY3" fmla="*/ 6317568 h 6716289"/>
              <a:gd name="connsiteX4" fmla="*/ 459916 w 4260391"/>
              <a:gd name="connsiteY4" fmla="*/ 8208 h 6716289"/>
              <a:gd name="connsiteX0" fmla="*/ 459916 w 4260391"/>
              <a:gd name="connsiteY0" fmla="*/ 20320 h 6697921"/>
              <a:gd name="connsiteX1" fmla="*/ 4260391 w 4260391"/>
              <a:gd name="connsiteY1" fmla="*/ 0 h 6697921"/>
              <a:gd name="connsiteX2" fmla="*/ 4250231 w 4260391"/>
              <a:gd name="connsiteY2" fmla="*/ 6431280 h 6697921"/>
              <a:gd name="connsiteX3" fmla="*/ 439596 w 4260391"/>
              <a:gd name="connsiteY3" fmla="*/ 6299200 h 6697921"/>
              <a:gd name="connsiteX4" fmla="*/ 459916 w 4260391"/>
              <a:gd name="connsiteY4" fmla="*/ 20320 h 6697921"/>
              <a:gd name="connsiteX0" fmla="*/ 459916 w 4260391"/>
              <a:gd name="connsiteY0" fmla="*/ 20320 h 6697921"/>
              <a:gd name="connsiteX1" fmla="*/ 4260391 w 4260391"/>
              <a:gd name="connsiteY1" fmla="*/ 0 h 6697921"/>
              <a:gd name="connsiteX2" fmla="*/ 4250231 w 4260391"/>
              <a:gd name="connsiteY2" fmla="*/ 6431280 h 6697921"/>
              <a:gd name="connsiteX3" fmla="*/ 439596 w 4260391"/>
              <a:gd name="connsiteY3" fmla="*/ 6299200 h 6697921"/>
              <a:gd name="connsiteX4" fmla="*/ 459916 w 4260391"/>
              <a:gd name="connsiteY4" fmla="*/ 20320 h 6697921"/>
              <a:gd name="connsiteX0" fmla="*/ 751092 w 4551567"/>
              <a:gd name="connsiteY0" fmla="*/ 20320 h 6506789"/>
              <a:gd name="connsiteX1" fmla="*/ 4551567 w 4551567"/>
              <a:gd name="connsiteY1" fmla="*/ 0 h 6506789"/>
              <a:gd name="connsiteX2" fmla="*/ 4541407 w 4551567"/>
              <a:gd name="connsiteY2" fmla="*/ 6431280 h 6506789"/>
              <a:gd name="connsiteX3" fmla="*/ 263412 w 4551567"/>
              <a:gd name="connsiteY3" fmla="*/ 4429760 h 6506789"/>
              <a:gd name="connsiteX4" fmla="*/ 751092 w 4551567"/>
              <a:gd name="connsiteY4" fmla="*/ 20320 h 6506789"/>
              <a:gd name="connsiteX0" fmla="*/ 751092 w 4551567"/>
              <a:gd name="connsiteY0" fmla="*/ 20320 h 6562639"/>
              <a:gd name="connsiteX1" fmla="*/ 4551567 w 4551567"/>
              <a:gd name="connsiteY1" fmla="*/ 0 h 6562639"/>
              <a:gd name="connsiteX2" fmla="*/ 4541407 w 4551567"/>
              <a:gd name="connsiteY2" fmla="*/ 6431280 h 6562639"/>
              <a:gd name="connsiteX3" fmla="*/ 263412 w 4551567"/>
              <a:gd name="connsiteY3" fmla="*/ 4429760 h 6562639"/>
              <a:gd name="connsiteX4" fmla="*/ 751092 w 4551567"/>
              <a:gd name="connsiteY4" fmla="*/ 20320 h 6562639"/>
              <a:gd name="connsiteX0" fmla="*/ 678846 w 4479321"/>
              <a:gd name="connsiteY0" fmla="*/ 20320 h 6562639"/>
              <a:gd name="connsiteX1" fmla="*/ 4479321 w 4479321"/>
              <a:gd name="connsiteY1" fmla="*/ 0 h 6562639"/>
              <a:gd name="connsiteX2" fmla="*/ 4469161 w 4479321"/>
              <a:gd name="connsiteY2" fmla="*/ 6431280 h 6562639"/>
              <a:gd name="connsiteX3" fmla="*/ 191166 w 4479321"/>
              <a:gd name="connsiteY3" fmla="*/ 4429760 h 6562639"/>
              <a:gd name="connsiteX4" fmla="*/ 678846 w 4479321"/>
              <a:gd name="connsiteY4" fmla="*/ 20320 h 6562639"/>
              <a:gd name="connsiteX0" fmla="*/ 585668 w 4386143"/>
              <a:gd name="connsiteY0" fmla="*/ 20320 h 6653993"/>
              <a:gd name="connsiteX1" fmla="*/ 4386143 w 4386143"/>
              <a:gd name="connsiteY1" fmla="*/ 0 h 6653993"/>
              <a:gd name="connsiteX2" fmla="*/ 4375983 w 4386143"/>
              <a:gd name="connsiteY2" fmla="*/ 6431280 h 6653993"/>
              <a:gd name="connsiteX3" fmla="*/ 230068 w 4386143"/>
              <a:gd name="connsiteY3" fmla="*/ 5120640 h 6653993"/>
              <a:gd name="connsiteX4" fmla="*/ 585668 w 4386143"/>
              <a:gd name="connsiteY4" fmla="*/ 20320 h 6653993"/>
              <a:gd name="connsiteX0" fmla="*/ 1481904 w 5282379"/>
              <a:gd name="connsiteY0" fmla="*/ 20320 h 6596991"/>
              <a:gd name="connsiteX1" fmla="*/ 5282379 w 5282379"/>
              <a:gd name="connsiteY1" fmla="*/ 0 h 6596991"/>
              <a:gd name="connsiteX2" fmla="*/ 5272219 w 5282379"/>
              <a:gd name="connsiteY2" fmla="*/ 6431280 h 6596991"/>
              <a:gd name="connsiteX3" fmla="*/ 79824 w 5282379"/>
              <a:gd name="connsiteY3" fmla="*/ 4765040 h 6596991"/>
              <a:gd name="connsiteX4" fmla="*/ 1481904 w 5282379"/>
              <a:gd name="connsiteY4" fmla="*/ 20320 h 6596991"/>
              <a:gd name="connsiteX0" fmla="*/ 1405990 w 5206465"/>
              <a:gd name="connsiteY0" fmla="*/ 20320 h 6596991"/>
              <a:gd name="connsiteX1" fmla="*/ 5206465 w 5206465"/>
              <a:gd name="connsiteY1" fmla="*/ 0 h 6596991"/>
              <a:gd name="connsiteX2" fmla="*/ 5196305 w 5206465"/>
              <a:gd name="connsiteY2" fmla="*/ 6431280 h 6596991"/>
              <a:gd name="connsiteX3" fmla="*/ 3910 w 5206465"/>
              <a:gd name="connsiteY3" fmla="*/ 4765040 h 6596991"/>
              <a:gd name="connsiteX4" fmla="*/ 1405990 w 5206465"/>
              <a:gd name="connsiteY4" fmla="*/ 20320 h 6596991"/>
              <a:gd name="connsiteX0" fmla="*/ 1506518 w 5306993"/>
              <a:gd name="connsiteY0" fmla="*/ 20320 h 6596991"/>
              <a:gd name="connsiteX1" fmla="*/ 5306993 w 5306993"/>
              <a:gd name="connsiteY1" fmla="*/ 0 h 6596991"/>
              <a:gd name="connsiteX2" fmla="*/ 5296833 w 5306993"/>
              <a:gd name="connsiteY2" fmla="*/ 6431280 h 6596991"/>
              <a:gd name="connsiteX3" fmla="*/ 104438 w 5306993"/>
              <a:gd name="connsiteY3" fmla="*/ 4765040 h 6596991"/>
              <a:gd name="connsiteX4" fmla="*/ 1506518 w 5306993"/>
              <a:gd name="connsiteY4" fmla="*/ 20320 h 6596991"/>
              <a:gd name="connsiteX0" fmla="*/ 1641531 w 5442006"/>
              <a:gd name="connsiteY0" fmla="*/ 20320 h 6596991"/>
              <a:gd name="connsiteX1" fmla="*/ 5442006 w 5442006"/>
              <a:gd name="connsiteY1" fmla="*/ 0 h 6596991"/>
              <a:gd name="connsiteX2" fmla="*/ 5431846 w 5442006"/>
              <a:gd name="connsiteY2" fmla="*/ 6431280 h 6596991"/>
              <a:gd name="connsiteX3" fmla="*/ 239451 w 5442006"/>
              <a:gd name="connsiteY3" fmla="*/ 4765040 h 6596991"/>
              <a:gd name="connsiteX4" fmla="*/ 1641531 w 5442006"/>
              <a:gd name="connsiteY4" fmla="*/ 20320 h 6596991"/>
              <a:gd name="connsiteX0" fmla="*/ 1641531 w 5442006"/>
              <a:gd name="connsiteY0" fmla="*/ 20320 h 6727977"/>
              <a:gd name="connsiteX1" fmla="*/ 5442006 w 5442006"/>
              <a:gd name="connsiteY1" fmla="*/ 0 h 6727977"/>
              <a:gd name="connsiteX2" fmla="*/ 5431846 w 5442006"/>
              <a:gd name="connsiteY2" fmla="*/ 6431280 h 6727977"/>
              <a:gd name="connsiteX3" fmla="*/ 239451 w 5442006"/>
              <a:gd name="connsiteY3" fmla="*/ 4765040 h 6727977"/>
              <a:gd name="connsiteX4" fmla="*/ 1641531 w 5442006"/>
              <a:gd name="connsiteY4" fmla="*/ 20320 h 6727977"/>
              <a:gd name="connsiteX0" fmla="*/ 1242716 w 5713751"/>
              <a:gd name="connsiteY0" fmla="*/ 10160 h 6727977"/>
              <a:gd name="connsiteX1" fmla="*/ 5713751 w 5713751"/>
              <a:gd name="connsiteY1" fmla="*/ 0 h 6727977"/>
              <a:gd name="connsiteX2" fmla="*/ 5703591 w 5713751"/>
              <a:gd name="connsiteY2" fmla="*/ 6431280 h 6727977"/>
              <a:gd name="connsiteX3" fmla="*/ 511196 w 5713751"/>
              <a:gd name="connsiteY3" fmla="*/ 4765040 h 6727977"/>
              <a:gd name="connsiteX4" fmla="*/ 1242716 w 5713751"/>
              <a:gd name="connsiteY4" fmla="*/ 10160 h 6727977"/>
              <a:gd name="connsiteX0" fmla="*/ 1303558 w 5652673"/>
              <a:gd name="connsiteY0" fmla="*/ 30480 h 6727977"/>
              <a:gd name="connsiteX1" fmla="*/ 5652673 w 5652673"/>
              <a:gd name="connsiteY1" fmla="*/ 0 h 6727977"/>
              <a:gd name="connsiteX2" fmla="*/ 5642513 w 5652673"/>
              <a:gd name="connsiteY2" fmla="*/ 6431280 h 6727977"/>
              <a:gd name="connsiteX3" fmla="*/ 450118 w 5652673"/>
              <a:gd name="connsiteY3" fmla="*/ 4765040 h 6727977"/>
              <a:gd name="connsiteX4" fmla="*/ 1303558 w 5652673"/>
              <a:gd name="connsiteY4" fmla="*/ 30480 h 6727977"/>
              <a:gd name="connsiteX0" fmla="*/ 1465152 w 5814267"/>
              <a:gd name="connsiteY0" fmla="*/ 30480 h 6559411"/>
              <a:gd name="connsiteX1" fmla="*/ 5814267 w 5814267"/>
              <a:gd name="connsiteY1" fmla="*/ 0 h 6559411"/>
              <a:gd name="connsiteX2" fmla="*/ 5804107 w 5814267"/>
              <a:gd name="connsiteY2" fmla="*/ 6431280 h 6559411"/>
              <a:gd name="connsiteX3" fmla="*/ 327232 w 5814267"/>
              <a:gd name="connsiteY3" fmla="*/ 3667760 h 6559411"/>
              <a:gd name="connsiteX4" fmla="*/ 1465152 w 5814267"/>
              <a:gd name="connsiteY4" fmla="*/ 30480 h 6559411"/>
              <a:gd name="connsiteX0" fmla="*/ 1465152 w 5814267"/>
              <a:gd name="connsiteY0" fmla="*/ 30480 h 6736314"/>
              <a:gd name="connsiteX1" fmla="*/ 5814267 w 5814267"/>
              <a:gd name="connsiteY1" fmla="*/ 0 h 6736314"/>
              <a:gd name="connsiteX2" fmla="*/ 5804107 w 5814267"/>
              <a:gd name="connsiteY2" fmla="*/ 6431280 h 6736314"/>
              <a:gd name="connsiteX3" fmla="*/ 327232 w 5814267"/>
              <a:gd name="connsiteY3" fmla="*/ 3667760 h 6736314"/>
              <a:gd name="connsiteX4" fmla="*/ 1465152 w 5814267"/>
              <a:gd name="connsiteY4" fmla="*/ 30480 h 6736314"/>
              <a:gd name="connsiteX0" fmla="*/ 1465152 w 5814267"/>
              <a:gd name="connsiteY0" fmla="*/ 30480 h 6576563"/>
              <a:gd name="connsiteX1" fmla="*/ 5814267 w 5814267"/>
              <a:gd name="connsiteY1" fmla="*/ 0 h 6576563"/>
              <a:gd name="connsiteX2" fmla="*/ 5793947 w 5814267"/>
              <a:gd name="connsiteY2" fmla="*/ 6248400 h 6576563"/>
              <a:gd name="connsiteX3" fmla="*/ 327232 w 5814267"/>
              <a:gd name="connsiteY3" fmla="*/ 3667760 h 6576563"/>
              <a:gd name="connsiteX4" fmla="*/ 1465152 w 5814267"/>
              <a:gd name="connsiteY4" fmla="*/ 30480 h 6576563"/>
              <a:gd name="connsiteX0" fmla="*/ 1465152 w 5814267"/>
              <a:gd name="connsiteY0" fmla="*/ 30480 h 6685994"/>
              <a:gd name="connsiteX1" fmla="*/ 5814267 w 5814267"/>
              <a:gd name="connsiteY1" fmla="*/ 0 h 6685994"/>
              <a:gd name="connsiteX2" fmla="*/ 5793947 w 5814267"/>
              <a:gd name="connsiteY2" fmla="*/ 6248400 h 6685994"/>
              <a:gd name="connsiteX3" fmla="*/ 327232 w 5814267"/>
              <a:gd name="connsiteY3" fmla="*/ 3667760 h 6685994"/>
              <a:gd name="connsiteX4" fmla="*/ 1465152 w 5814267"/>
              <a:gd name="connsiteY4" fmla="*/ 30480 h 6685994"/>
              <a:gd name="connsiteX0" fmla="*/ 1550134 w 5899249"/>
              <a:gd name="connsiteY0" fmla="*/ 30480 h 6704926"/>
              <a:gd name="connsiteX1" fmla="*/ 5899249 w 5899249"/>
              <a:gd name="connsiteY1" fmla="*/ 0 h 6704926"/>
              <a:gd name="connsiteX2" fmla="*/ 5878929 w 5899249"/>
              <a:gd name="connsiteY2" fmla="*/ 6248400 h 6704926"/>
              <a:gd name="connsiteX3" fmla="*/ 280134 w 5899249"/>
              <a:gd name="connsiteY3" fmla="*/ 3789680 h 6704926"/>
              <a:gd name="connsiteX4" fmla="*/ 1550134 w 5899249"/>
              <a:gd name="connsiteY4" fmla="*/ 30480 h 6704926"/>
              <a:gd name="connsiteX0" fmla="*/ 1052522 w 6397317"/>
              <a:gd name="connsiteY0" fmla="*/ 0 h 6715086"/>
              <a:gd name="connsiteX1" fmla="*/ 6397317 w 6397317"/>
              <a:gd name="connsiteY1" fmla="*/ 10160 h 6715086"/>
              <a:gd name="connsiteX2" fmla="*/ 6376997 w 6397317"/>
              <a:gd name="connsiteY2" fmla="*/ 6258560 h 6715086"/>
              <a:gd name="connsiteX3" fmla="*/ 778202 w 6397317"/>
              <a:gd name="connsiteY3" fmla="*/ 3799840 h 6715086"/>
              <a:gd name="connsiteX4" fmla="*/ 1052522 w 6397317"/>
              <a:gd name="connsiteY4" fmla="*/ 0 h 6715086"/>
              <a:gd name="connsiteX0" fmla="*/ 687601 w 6032396"/>
              <a:gd name="connsiteY0" fmla="*/ 0 h 6715086"/>
              <a:gd name="connsiteX1" fmla="*/ 6032396 w 6032396"/>
              <a:gd name="connsiteY1" fmla="*/ 10160 h 6715086"/>
              <a:gd name="connsiteX2" fmla="*/ 6012076 w 6032396"/>
              <a:gd name="connsiteY2" fmla="*/ 6258560 h 6715086"/>
              <a:gd name="connsiteX3" fmla="*/ 413281 w 6032396"/>
              <a:gd name="connsiteY3" fmla="*/ 3799840 h 6715086"/>
              <a:gd name="connsiteX4" fmla="*/ 687601 w 6032396"/>
              <a:gd name="connsiteY4" fmla="*/ 0 h 6715086"/>
              <a:gd name="connsiteX0" fmla="*/ 709374 w 6054169"/>
              <a:gd name="connsiteY0" fmla="*/ 0 h 6715086"/>
              <a:gd name="connsiteX1" fmla="*/ 6054169 w 6054169"/>
              <a:gd name="connsiteY1" fmla="*/ 10160 h 6715086"/>
              <a:gd name="connsiteX2" fmla="*/ 6033849 w 6054169"/>
              <a:gd name="connsiteY2" fmla="*/ 6258560 h 6715086"/>
              <a:gd name="connsiteX3" fmla="*/ 435054 w 6054169"/>
              <a:gd name="connsiteY3" fmla="*/ 3799840 h 6715086"/>
              <a:gd name="connsiteX4" fmla="*/ 709374 w 6054169"/>
              <a:gd name="connsiteY4" fmla="*/ 0 h 6715086"/>
              <a:gd name="connsiteX0" fmla="*/ 709374 w 6055146"/>
              <a:gd name="connsiteY0" fmla="*/ 0 h 6732153"/>
              <a:gd name="connsiteX1" fmla="*/ 6054169 w 6055146"/>
              <a:gd name="connsiteY1" fmla="*/ 10160 h 6732153"/>
              <a:gd name="connsiteX2" fmla="*/ 6054169 w 6055146"/>
              <a:gd name="connsiteY2" fmla="*/ 6278880 h 6732153"/>
              <a:gd name="connsiteX3" fmla="*/ 435054 w 6055146"/>
              <a:gd name="connsiteY3" fmla="*/ 3799840 h 6732153"/>
              <a:gd name="connsiteX4" fmla="*/ 709374 w 6055146"/>
              <a:gd name="connsiteY4" fmla="*/ 0 h 6732153"/>
              <a:gd name="connsiteX0" fmla="*/ 1675217 w 5730669"/>
              <a:gd name="connsiteY0" fmla="*/ 0 h 6742313"/>
              <a:gd name="connsiteX1" fmla="*/ 5729692 w 5730669"/>
              <a:gd name="connsiteY1" fmla="*/ 20320 h 6742313"/>
              <a:gd name="connsiteX2" fmla="*/ 5729692 w 5730669"/>
              <a:gd name="connsiteY2" fmla="*/ 6289040 h 6742313"/>
              <a:gd name="connsiteX3" fmla="*/ 110577 w 5730669"/>
              <a:gd name="connsiteY3" fmla="*/ 3810000 h 6742313"/>
              <a:gd name="connsiteX4" fmla="*/ 1675217 w 5730669"/>
              <a:gd name="connsiteY4" fmla="*/ 0 h 6742313"/>
              <a:gd name="connsiteX0" fmla="*/ 1565858 w 5741231"/>
              <a:gd name="connsiteY0" fmla="*/ 0 h 6742313"/>
              <a:gd name="connsiteX1" fmla="*/ 5740254 w 5741231"/>
              <a:gd name="connsiteY1" fmla="*/ 20320 h 6742313"/>
              <a:gd name="connsiteX2" fmla="*/ 5740254 w 5741231"/>
              <a:gd name="connsiteY2" fmla="*/ 6289040 h 6742313"/>
              <a:gd name="connsiteX3" fmla="*/ 121139 w 5741231"/>
              <a:gd name="connsiteY3" fmla="*/ 3810000 h 6742313"/>
              <a:gd name="connsiteX4" fmla="*/ 1565858 w 5741231"/>
              <a:gd name="connsiteY4" fmla="*/ 0 h 6742313"/>
              <a:gd name="connsiteX0" fmla="*/ 1587058 w 5762431"/>
              <a:gd name="connsiteY0" fmla="*/ 0 h 6742313"/>
              <a:gd name="connsiteX1" fmla="*/ 5761454 w 5762431"/>
              <a:gd name="connsiteY1" fmla="*/ 20320 h 6742313"/>
              <a:gd name="connsiteX2" fmla="*/ 5761454 w 5762431"/>
              <a:gd name="connsiteY2" fmla="*/ 6289040 h 6742313"/>
              <a:gd name="connsiteX3" fmla="*/ 142339 w 5762431"/>
              <a:gd name="connsiteY3" fmla="*/ 3810000 h 6742313"/>
              <a:gd name="connsiteX4" fmla="*/ 1587058 w 5762431"/>
              <a:gd name="connsiteY4" fmla="*/ 0 h 6742313"/>
              <a:gd name="connsiteX0" fmla="*/ 1781099 w 5956472"/>
              <a:gd name="connsiteY0" fmla="*/ 0 h 6985350"/>
              <a:gd name="connsiteX1" fmla="*/ 5955495 w 5956472"/>
              <a:gd name="connsiteY1" fmla="*/ 20320 h 6985350"/>
              <a:gd name="connsiteX2" fmla="*/ 5955495 w 5956472"/>
              <a:gd name="connsiteY2" fmla="*/ 6289040 h 6985350"/>
              <a:gd name="connsiteX3" fmla="*/ 119022 w 5956472"/>
              <a:gd name="connsiteY3" fmla="*/ 4881797 h 6985350"/>
              <a:gd name="connsiteX4" fmla="*/ 1781099 w 5956472"/>
              <a:gd name="connsiteY4" fmla="*/ 0 h 6985350"/>
              <a:gd name="connsiteX0" fmla="*/ 1812548 w 5987921"/>
              <a:gd name="connsiteY0" fmla="*/ 0 h 6985350"/>
              <a:gd name="connsiteX1" fmla="*/ 5986944 w 5987921"/>
              <a:gd name="connsiteY1" fmla="*/ 20320 h 6985350"/>
              <a:gd name="connsiteX2" fmla="*/ 5986944 w 5987921"/>
              <a:gd name="connsiteY2" fmla="*/ 6289040 h 6985350"/>
              <a:gd name="connsiteX3" fmla="*/ 150471 w 5987921"/>
              <a:gd name="connsiteY3" fmla="*/ 4881797 h 6985350"/>
              <a:gd name="connsiteX4" fmla="*/ 1812548 w 5987921"/>
              <a:gd name="connsiteY4" fmla="*/ 0 h 6985350"/>
              <a:gd name="connsiteX0" fmla="*/ 1812548 w 5987921"/>
              <a:gd name="connsiteY0" fmla="*/ 0 h 7227813"/>
              <a:gd name="connsiteX1" fmla="*/ 5986944 w 5987921"/>
              <a:gd name="connsiteY1" fmla="*/ 20320 h 7227813"/>
              <a:gd name="connsiteX2" fmla="*/ 5986944 w 5987921"/>
              <a:gd name="connsiteY2" fmla="*/ 6626319 h 7227813"/>
              <a:gd name="connsiteX3" fmla="*/ 150471 w 5987921"/>
              <a:gd name="connsiteY3" fmla="*/ 4881797 h 7227813"/>
              <a:gd name="connsiteX4" fmla="*/ 1812548 w 5987921"/>
              <a:gd name="connsiteY4" fmla="*/ 0 h 7227813"/>
              <a:gd name="connsiteX0" fmla="*/ 1812548 w 5987921"/>
              <a:gd name="connsiteY0" fmla="*/ 0 h 7211160"/>
              <a:gd name="connsiteX1" fmla="*/ 5986944 w 5987921"/>
              <a:gd name="connsiteY1" fmla="*/ 20320 h 7211160"/>
              <a:gd name="connsiteX2" fmla="*/ 5986944 w 5987921"/>
              <a:gd name="connsiteY2" fmla="*/ 6626319 h 7211160"/>
              <a:gd name="connsiteX3" fmla="*/ 150471 w 5987921"/>
              <a:gd name="connsiteY3" fmla="*/ 4881797 h 7211160"/>
              <a:gd name="connsiteX4" fmla="*/ 1812548 w 5987921"/>
              <a:gd name="connsiteY4" fmla="*/ 0 h 7211160"/>
              <a:gd name="connsiteX0" fmla="*/ 1812548 w 5987921"/>
              <a:gd name="connsiteY0" fmla="*/ 0 h 6631990"/>
              <a:gd name="connsiteX1" fmla="*/ 5986944 w 5987921"/>
              <a:gd name="connsiteY1" fmla="*/ 20320 h 6631990"/>
              <a:gd name="connsiteX2" fmla="*/ 5986944 w 5987921"/>
              <a:gd name="connsiteY2" fmla="*/ 6626319 h 6631990"/>
              <a:gd name="connsiteX3" fmla="*/ 150471 w 5987921"/>
              <a:gd name="connsiteY3" fmla="*/ 4881797 h 6631990"/>
              <a:gd name="connsiteX4" fmla="*/ 1812548 w 5987921"/>
              <a:gd name="connsiteY4" fmla="*/ 0 h 6631990"/>
              <a:gd name="connsiteX0" fmla="*/ 1812548 w 5987921"/>
              <a:gd name="connsiteY0" fmla="*/ 0 h 6626319"/>
              <a:gd name="connsiteX1" fmla="*/ 5986944 w 5987921"/>
              <a:gd name="connsiteY1" fmla="*/ 20320 h 6626319"/>
              <a:gd name="connsiteX2" fmla="*/ 5986944 w 5987921"/>
              <a:gd name="connsiteY2" fmla="*/ 6626319 h 6626319"/>
              <a:gd name="connsiteX3" fmla="*/ 150471 w 5987921"/>
              <a:gd name="connsiteY3" fmla="*/ 4881797 h 6626319"/>
              <a:gd name="connsiteX4" fmla="*/ 1812548 w 5987921"/>
              <a:gd name="connsiteY4" fmla="*/ 0 h 6626319"/>
              <a:gd name="connsiteX0" fmla="*/ 1812548 w 5987921"/>
              <a:gd name="connsiteY0" fmla="*/ 0 h 6680593"/>
              <a:gd name="connsiteX1" fmla="*/ 5986944 w 5987921"/>
              <a:gd name="connsiteY1" fmla="*/ 20320 h 6680593"/>
              <a:gd name="connsiteX2" fmla="*/ 5986944 w 5987921"/>
              <a:gd name="connsiteY2" fmla="*/ 6626319 h 6680593"/>
              <a:gd name="connsiteX3" fmla="*/ 150471 w 5987921"/>
              <a:gd name="connsiteY3" fmla="*/ 4881797 h 6680593"/>
              <a:gd name="connsiteX4" fmla="*/ 1812548 w 5987921"/>
              <a:gd name="connsiteY4" fmla="*/ 0 h 6680593"/>
              <a:gd name="connsiteX0" fmla="*/ 1803381 w 5978754"/>
              <a:gd name="connsiteY0" fmla="*/ 0 h 6680593"/>
              <a:gd name="connsiteX1" fmla="*/ 5977777 w 5978754"/>
              <a:gd name="connsiteY1" fmla="*/ 20320 h 6680593"/>
              <a:gd name="connsiteX2" fmla="*/ 5977777 w 5978754"/>
              <a:gd name="connsiteY2" fmla="*/ 6626319 h 6680593"/>
              <a:gd name="connsiteX3" fmla="*/ 141304 w 5978754"/>
              <a:gd name="connsiteY3" fmla="*/ 4881797 h 6680593"/>
              <a:gd name="connsiteX4" fmla="*/ 1803381 w 5978754"/>
              <a:gd name="connsiteY4" fmla="*/ 0 h 6680593"/>
              <a:gd name="connsiteX0" fmla="*/ 1803381 w 5978754"/>
              <a:gd name="connsiteY0" fmla="*/ 0 h 6626319"/>
              <a:gd name="connsiteX1" fmla="*/ 5977777 w 5978754"/>
              <a:gd name="connsiteY1" fmla="*/ 20320 h 6626319"/>
              <a:gd name="connsiteX2" fmla="*/ 5977777 w 5978754"/>
              <a:gd name="connsiteY2" fmla="*/ 6626319 h 6626319"/>
              <a:gd name="connsiteX3" fmla="*/ 141304 w 5978754"/>
              <a:gd name="connsiteY3" fmla="*/ 4881797 h 6626319"/>
              <a:gd name="connsiteX4" fmla="*/ 1803381 w 5978754"/>
              <a:gd name="connsiteY4" fmla="*/ 0 h 6626319"/>
              <a:gd name="connsiteX0" fmla="*/ 1803381 w 5978754"/>
              <a:gd name="connsiteY0" fmla="*/ 0 h 6626319"/>
              <a:gd name="connsiteX1" fmla="*/ 5977777 w 5978754"/>
              <a:gd name="connsiteY1" fmla="*/ 20320 h 6626319"/>
              <a:gd name="connsiteX2" fmla="*/ 5977777 w 5978754"/>
              <a:gd name="connsiteY2" fmla="*/ 6626319 h 6626319"/>
              <a:gd name="connsiteX3" fmla="*/ 141304 w 5978754"/>
              <a:gd name="connsiteY3" fmla="*/ 4881797 h 6626319"/>
              <a:gd name="connsiteX4" fmla="*/ 1803381 w 5978754"/>
              <a:gd name="connsiteY4" fmla="*/ 0 h 6626319"/>
              <a:gd name="connsiteX0" fmla="*/ 1803381 w 5978754"/>
              <a:gd name="connsiteY0" fmla="*/ 0 h 6626319"/>
              <a:gd name="connsiteX1" fmla="*/ 5977777 w 5978754"/>
              <a:gd name="connsiteY1" fmla="*/ 7620 h 6626319"/>
              <a:gd name="connsiteX2" fmla="*/ 5977777 w 5978754"/>
              <a:gd name="connsiteY2" fmla="*/ 6626319 h 6626319"/>
              <a:gd name="connsiteX3" fmla="*/ 141304 w 5978754"/>
              <a:gd name="connsiteY3" fmla="*/ 4881797 h 6626319"/>
              <a:gd name="connsiteX4" fmla="*/ 1803381 w 5978754"/>
              <a:gd name="connsiteY4" fmla="*/ 0 h 6626319"/>
              <a:gd name="connsiteX0" fmla="*/ 1803381 w 5978754"/>
              <a:gd name="connsiteY0" fmla="*/ 0 h 6626319"/>
              <a:gd name="connsiteX1" fmla="*/ 5977777 w 5978754"/>
              <a:gd name="connsiteY1" fmla="*/ 2519326 h 6626319"/>
              <a:gd name="connsiteX2" fmla="*/ 5977777 w 5978754"/>
              <a:gd name="connsiteY2" fmla="*/ 6626319 h 6626319"/>
              <a:gd name="connsiteX3" fmla="*/ 141304 w 5978754"/>
              <a:gd name="connsiteY3" fmla="*/ 4881797 h 6626319"/>
              <a:gd name="connsiteX4" fmla="*/ 1803381 w 5978754"/>
              <a:gd name="connsiteY4" fmla="*/ 0 h 6626319"/>
              <a:gd name="connsiteX0" fmla="*/ 490764 w 7953347"/>
              <a:gd name="connsiteY0" fmla="*/ 0 h 4635473"/>
              <a:gd name="connsiteX1" fmla="*/ 7952370 w 7953347"/>
              <a:gd name="connsiteY1" fmla="*/ 528480 h 4635473"/>
              <a:gd name="connsiteX2" fmla="*/ 7952370 w 7953347"/>
              <a:gd name="connsiteY2" fmla="*/ 4635473 h 4635473"/>
              <a:gd name="connsiteX3" fmla="*/ 2115897 w 7953347"/>
              <a:gd name="connsiteY3" fmla="*/ 2890951 h 4635473"/>
              <a:gd name="connsiteX4" fmla="*/ 490764 w 7953347"/>
              <a:gd name="connsiteY4" fmla="*/ 0 h 4635473"/>
              <a:gd name="connsiteX0" fmla="*/ 490764 w 7953347"/>
              <a:gd name="connsiteY0" fmla="*/ 429815 h 5065288"/>
              <a:gd name="connsiteX1" fmla="*/ 7952370 w 7953347"/>
              <a:gd name="connsiteY1" fmla="*/ 958295 h 5065288"/>
              <a:gd name="connsiteX2" fmla="*/ 7952370 w 7953347"/>
              <a:gd name="connsiteY2" fmla="*/ 5065288 h 5065288"/>
              <a:gd name="connsiteX3" fmla="*/ 2115897 w 7953347"/>
              <a:gd name="connsiteY3" fmla="*/ 3320766 h 5065288"/>
              <a:gd name="connsiteX4" fmla="*/ 490764 w 7953347"/>
              <a:gd name="connsiteY4" fmla="*/ 429815 h 5065288"/>
              <a:gd name="connsiteX0" fmla="*/ 490764 w 7953347"/>
              <a:gd name="connsiteY0" fmla="*/ 489147 h 5124620"/>
              <a:gd name="connsiteX1" fmla="*/ 7952370 w 7953347"/>
              <a:gd name="connsiteY1" fmla="*/ 1017627 h 5124620"/>
              <a:gd name="connsiteX2" fmla="*/ 7952370 w 7953347"/>
              <a:gd name="connsiteY2" fmla="*/ 5124620 h 5124620"/>
              <a:gd name="connsiteX3" fmla="*/ 2115897 w 7953347"/>
              <a:gd name="connsiteY3" fmla="*/ 3380098 h 5124620"/>
              <a:gd name="connsiteX4" fmla="*/ 490764 w 7953347"/>
              <a:gd name="connsiteY4" fmla="*/ 489147 h 5124620"/>
              <a:gd name="connsiteX0" fmla="*/ 490764 w 7953347"/>
              <a:gd name="connsiteY0" fmla="*/ 428154 h 5063627"/>
              <a:gd name="connsiteX1" fmla="*/ 7952370 w 7953347"/>
              <a:gd name="connsiteY1" fmla="*/ 956634 h 5063627"/>
              <a:gd name="connsiteX2" fmla="*/ 7952370 w 7953347"/>
              <a:gd name="connsiteY2" fmla="*/ 5063627 h 5063627"/>
              <a:gd name="connsiteX3" fmla="*/ 2115897 w 7953347"/>
              <a:gd name="connsiteY3" fmla="*/ 3319105 h 5063627"/>
              <a:gd name="connsiteX4" fmla="*/ 490764 w 7953347"/>
              <a:gd name="connsiteY4" fmla="*/ 428154 h 5063627"/>
              <a:gd name="connsiteX0" fmla="*/ 994930 w 8457513"/>
              <a:gd name="connsiteY0" fmla="*/ 428154 h 5834677"/>
              <a:gd name="connsiteX1" fmla="*/ 8456536 w 8457513"/>
              <a:gd name="connsiteY1" fmla="*/ 956634 h 5834677"/>
              <a:gd name="connsiteX2" fmla="*/ 8456536 w 8457513"/>
              <a:gd name="connsiteY2" fmla="*/ 5063627 h 5834677"/>
              <a:gd name="connsiteX3" fmla="*/ 525045 w 8457513"/>
              <a:gd name="connsiteY3" fmla="*/ 5252077 h 5834677"/>
              <a:gd name="connsiteX4" fmla="*/ 994930 w 8457513"/>
              <a:gd name="connsiteY4" fmla="*/ 428154 h 5834677"/>
              <a:gd name="connsiteX0" fmla="*/ 1050568 w 8513151"/>
              <a:gd name="connsiteY0" fmla="*/ 428154 h 5834677"/>
              <a:gd name="connsiteX1" fmla="*/ 8512174 w 8513151"/>
              <a:gd name="connsiteY1" fmla="*/ 956634 h 5834677"/>
              <a:gd name="connsiteX2" fmla="*/ 8512174 w 8513151"/>
              <a:gd name="connsiteY2" fmla="*/ 5063627 h 5834677"/>
              <a:gd name="connsiteX3" fmla="*/ 580683 w 8513151"/>
              <a:gd name="connsiteY3" fmla="*/ 5252077 h 5834677"/>
              <a:gd name="connsiteX4" fmla="*/ 1050568 w 8513151"/>
              <a:gd name="connsiteY4" fmla="*/ 428154 h 5834677"/>
              <a:gd name="connsiteX0" fmla="*/ 1050568 w 8513151"/>
              <a:gd name="connsiteY0" fmla="*/ 499326 h 5905849"/>
              <a:gd name="connsiteX1" fmla="*/ 8512174 w 8513151"/>
              <a:gd name="connsiteY1" fmla="*/ 1027806 h 5905849"/>
              <a:gd name="connsiteX2" fmla="*/ 8512174 w 8513151"/>
              <a:gd name="connsiteY2" fmla="*/ 5134799 h 5905849"/>
              <a:gd name="connsiteX3" fmla="*/ 580683 w 8513151"/>
              <a:gd name="connsiteY3" fmla="*/ 5323249 h 5905849"/>
              <a:gd name="connsiteX4" fmla="*/ 1050568 w 8513151"/>
              <a:gd name="connsiteY4" fmla="*/ 499326 h 5905849"/>
              <a:gd name="connsiteX0" fmla="*/ 1050568 w 8524168"/>
              <a:gd name="connsiteY0" fmla="*/ 499326 h 5955349"/>
              <a:gd name="connsiteX1" fmla="*/ 8512174 w 8524168"/>
              <a:gd name="connsiteY1" fmla="*/ 1027806 h 5955349"/>
              <a:gd name="connsiteX2" fmla="*/ 8523749 w 8524168"/>
              <a:gd name="connsiteY2" fmla="*/ 5343144 h 5955349"/>
              <a:gd name="connsiteX3" fmla="*/ 580683 w 8524168"/>
              <a:gd name="connsiteY3" fmla="*/ 5323249 h 5955349"/>
              <a:gd name="connsiteX4" fmla="*/ 1050568 w 8524168"/>
              <a:gd name="connsiteY4" fmla="*/ 499326 h 5955349"/>
              <a:gd name="connsiteX0" fmla="*/ 1050568 w 8524168"/>
              <a:gd name="connsiteY0" fmla="*/ 499326 h 5343144"/>
              <a:gd name="connsiteX1" fmla="*/ 8512174 w 8524168"/>
              <a:gd name="connsiteY1" fmla="*/ 1027806 h 5343144"/>
              <a:gd name="connsiteX2" fmla="*/ 8523749 w 8524168"/>
              <a:gd name="connsiteY2" fmla="*/ 5343144 h 5343144"/>
              <a:gd name="connsiteX3" fmla="*/ 580683 w 8524168"/>
              <a:gd name="connsiteY3" fmla="*/ 5323249 h 5343144"/>
              <a:gd name="connsiteX4" fmla="*/ 1050568 w 8524168"/>
              <a:gd name="connsiteY4" fmla="*/ 499326 h 5343144"/>
              <a:gd name="connsiteX0" fmla="*/ 1030736 w 8504336"/>
              <a:gd name="connsiteY0" fmla="*/ 499326 h 5404272"/>
              <a:gd name="connsiteX1" fmla="*/ 8492342 w 8504336"/>
              <a:gd name="connsiteY1" fmla="*/ 1027806 h 5404272"/>
              <a:gd name="connsiteX2" fmla="*/ 8503917 w 8504336"/>
              <a:gd name="connsiteY2" fmla="*/ 5343144 h 5404272"/>
              <a:gd name="connsiteX3" fmla="*/ 607150 w 8504336"/>
              <a:gd name="connsiteY3" fmla="*/ 5404272 h 5404272"/>
              <a:gd name="connsiteX4" fmla="*/ 1030736 w 8504336"/>
              <a:gd name="connsiteY4" fmla="*/ 499326 h 5404272"/>
              <a:gd name="connsiteX0" fmla="*/ 1042322 w 8515922"/>
              <a:gd name="connsiteY0" fmla="*/ 499326 h 5404272"/>
              <a:gd name="connsiteX1" fmla="*/ 8503928 w 8515922"/>
              <a:gd name="connsiteY1" fmla="*/ 1027806 h 5404272"/>
              <a:gd name="connsiteX2" fmla="*/ 8515503 w 8515922"/>
              <a:gd name="connsiteY2" fmla="*/ 5343144 h 5404272"/>
              <a:gd name="connsiteX3" fmla="*/ 618736 w 8515922"/>
              <a:gd name="connsiteY3" fmla="*/ 5404272 h 5404272"/>
              <a:gd name="connsiteX4" fmla="*/ 1042322 w 8515922"/>
              <a:gd name="connsiteY4" fmla="*/ 499326 h 5404272"/>
              <a:gd name="connsiteX0" fmla="*/ 1009464 w 8483064"/>
              <a:gd name="connsiteY0" fmla="*/ 499326 h 5404272"/>
              <a:gd name="connsiteX1" fmla="*/ 8471070 w 8483064"/>
              <a:gd name="connsiteY1" fmla="*/ 1027806 h 5404272"/>
              <a:gd name="connsiteX2" fmla="*/ 8482645 w 8483064"/>
              <a:gd name="connsiteY2" fmla="*/ 5343144 h 5404272"/>
              <a:gd name="connsiteX3" fmla="*/ 585878 w 8483064"/>
              <a:gd name="connsiteY3" fmla="*/ 5404272 h 5404272"/>
              <a:gd name="connsiteX4" fmla="*/ 1009464 w 8483064"/>
              <a:gd name="connsiteY4" fmla="*/ 499326 h 5404272"/>
              <a:gd name="connsiteX0" fmla="*/ 1037608 w 8511208"/>
              <a:gd name="connsiteY0" fmla="*/ 499326 h 5404272"/>
              <a:gd name="connsiteX1" fmla="*/ 8499214 w 8511208"/>
              <a:gd name="connsiteY1" fmla="*/ 1027806 h 5404272"/>
              <a:gd name="connsiteX2" fmla="*/ 8510789 w 8511208"/>
              <a:gd name="connsiteY2" fmla="*/ 5343144 h 5404272"/>
              <a:gd name="connsiteX3" fmla="*/ 614022 w 8511208"/>
              <a:gd name="connsiteY3" fmla="*/ 5404272 h 5404272"/>
              <a:gd name="connsiteX4" fmla="*/ 1037608 w 8511208"/>
              <a:gd name="connsiteY4" fmla="*/ 499326 h 5404272"/>
              <a:gd name="connsiteX0" fmla="*/ 1023507 w 8497107"/>
              <a:gd name="connsiteY0" fmla="*/ 499326 h 5404272"/>
              <a:gd name="connsiteX1" fmla="*/ 8485113 w 8497107"/>
              <a:gd name="connsiteY1" fmla="*/ 1027806 h 5404272"/>
              <a:gd name="connsiteX2" fmla="*/ 8496688 w 8497107"/>
              <a:gd name="connsiteY2" fmla="*/ 5343144 h 5404272"/>
              <a:gd name="connsiteX3" fmla="*/ 599921 w 8497107"/>
              <a:gd name="connsiteY3" fmla="*/ 5404272 h 5404272"/>
              <a:gd name="connsiteX4" fmla="*/ 1023507 w 8497107"/>
              <a:gd name="connsiteY4" fmla="*/ 499326 h 5404272"/>
              <a:gd name="connsiteX0" fmla="*/ 1003780 w 8523679"/>
              <a:gd name="connsiteY0" fmla="*/ 509205 h 5367853"/>
              <a:gd name="connsiteX1" fmla="*/ 8511685 w 8523679"/>
              <a:gd name="connsiteY1" fmla="*/ 991387 h 5367853"/>
              <a:gd name="connsiteX2" fmla="*/ 8523260 w 8523679"/>
              <a:gd name="connsiteY2" fmla="*/ 5306725 h 5367853"/>
              <a:gd name="connsiteX3" fmla="*/ 626493 w 8523679"/>
              <a:gd name="connsiteY3" fmla="*/ 5367853 h 5367853"/>
              <a:gd name="connsiteX4" fmla="*/ 1003780 w 8523679"/>
              <a:gd name="connsiteY4" fmla="*/ 509205 h 5367853"/>
              <a:gd name="connsiteX0" fmla="*/ 1003780 w 8523679"/>
              <a:gd name="connsiteY0" fmla="*/ 534746 h 5393394"/>
              <a:gd name="connsiteX1" fmla="*/ 8511685 w 8523679"/>
              <a:gd name="connsiteY1" fmla="*/ 1016928 h 5393394"/>
              <a:gd name="connsiteX2" fmla="*/ 8523260 w 8523679"/>
              <a:gd name="connsiteY2" fmla="*/ 5332266 h 5393394"/>
              <a:gd name="connsiteX3" fmla="*/ 626493 w 8523679"/>
              <a:gd name="connsiteY3" fmla="*/ 5393394 h 5393394"/>
              <a:gd name="connsiteX4" fmla="*/ 1003780 w 8523679"/>
              <a:gd name="connsiteY4" fmla="*/ 534746 h 5393394"/>
              <a:gd name="connsiteX0" fmla="*/ 1003780 w 8523679"/>
              <a:gd name="connsiteY0" fmla="*/ 537292 h 5395940"/>
              <a:gd name="connsiteX1" fmla="*/ 8511685 w 8523679"/>
              <a:gd name="connsiteY1" fmla="*/ 1007899 h 5395940"/>
              <a:gd name="connsiteX2" fmla="*/ 8523260 w 8523679"/>
              <a:gd name="connsiteY2" fmla="*/ 5334812 h 5395940"/>
              <a:gd name="connsiteX3" fmla="*/ 626493 w 8523679"/>
              <a:gd name="connsiteY3" fmla="*/ 5395940 h 5395940"/>
              <a:gd name="connsiteX4" fmla="*/ 1003780 w 8523679"/>
              <a:gd name="connsiteY4" fmla="*/ 537292 h 5395940"/>
              <a:gd name="connsiteX0" fmla="*/ 1003780 w 8523679"/>
              <a:gd name="connsiteY0" fmla="*/ 537292 h 5395940"/>
              <a:gd name="connsiteX1" fmla="*/ 8511685 w 8523679"/>
              <a:gd name="connsiteY1" fmla="*/ 1007899 h 5395940"/>
              <a:gd name="connsiteX2" fmla="*/ 8523260 w 8523679"/>
              <a:gd name="connsiteY2" fmla="*/ 5381110 h 5395940"/>
              <a:gd name="connsiteX3" fmla="*/ 626493 w 8523679"/>
              <a:gd name="connsiteY3" fmla="*/ 5395940 h 5395940"/>
              <a:gd name="connsiteX4" fmla="*/ 1003780 w 8523679"/>
              <a:gd name="connsiteY4" fmla="*/ 537292 h 5395940"/>
              <a:gd name="connsiteX0" fmla="*/ 1003780 w 8523679"/>
              <a:gd name="connsiteY0" fmla="*/ 537292 h 5415834"/>
              <a:gd name="connsiteX1" fmla="*/ 8511685 w 8523679"/>
              <a:gd name="connsiteY1" fmla="*/ 1007899 h 5415834"/>
              <a:gd name="connsiteX2" fmla="*/ 8523260 w 8523679"/>
              <a:gd name="connsiteY2" fmla="*/ 5415834 h 5415834"/>
              <a:gd name="connsiteX3" fmla="*/ 626493 w 8523679"/>
              <a:gd name="connsiteY3" fmla="*/ 5395940 h 5415834"/>
              <a:gd name="connsiteX4" fmla="*/ 1003780 w 8523679"/>
              <a:gd name="connsiteY4" fmla="*/ 537292 h 5415834"/>
              <a:gd name="connsiteX0" fmla="*/ 1003780 w 8523679"/>
              <a:gd name="connsiteY0" fmla="*/ 537292 h 5395940"/>
              <a:gd name="connsiteX1" fmla="*/ 8511685 w 8523679"/>
              <a:gd name="connsiteY1" fmla="*/ 1007899 h 5395940"/>
              <a:gd name="connsiteX2" fmla="*/ 8523260 w 8523679"/>
              <a:gd name="connsiteY2" fmla="*/ 5367243 h 5395940"/>
              <a:gd name="connsiteX3" fmla="*/ 626493 w 8523679"/>
              <a:gd name="connsiteY3" fmla="*/ 5395940 h 5395940"/>
              <a:gd name="connsiteX4" fmla="*/ 1003780 w 8523679"/>
              <a:gd name="connsiteY4" fmla="*/ 537292 h 5395940"/>
              <a:gd name="connsiteX0" fmla="*/ 1003780 w 8523679"/>
              <a:gd name="connsiteY0" fmla="*/ 537292 h 5395940"/>
              <a:gd name="connsiteX1" fmla="*/ 8511685 w 8523679"/>
              <a:gd name="connsiteY1" fmla="*/ 1007899 h 5395940"/>
              <a:gd name="connsiteX2" fmla="*/ 8523260 w 8523679"/>
              <a:gd name="connsiteY2" fmla="*/ 5367243 h 5395940"/>
              <a:gd name="connsiteX3" fmla="*/ 626493 w 8523679"/>
              <a:gd name="connsiteY3" fmla="*/ 5395940 h 5395940"/>
              <a:gd name="connsiteX4" fmla="*/ 1003780 w 8523679"/>
              <a:gd name="connsiteY4" fmla="*/ 537292 h 5395940"/>
              <a:gd name="connsiteX0" fmla="*/ 1003780 w 8532345"/>
              <a:gd name="connsiteY0" fmla="*/ 537292 h 5402412"/>
              <a:gd name="connsiteX1" fmla="*/ 8511685 w 8532345"/>
              <a:gd name="connsiteY1" fmla="*/ 1007899 h 5402412"/>
              <a:gd name="connsiteX2" fmla="*/ 8532052 w 8532345"/>
              <a:gd name="connsiteY2" fmla="*/ 5402412 h 5402412"/>
              <a:gd name="connsiteX3" fmla="*/ 626493 w 8532345"/>
              <a:gd name="connsiteY3" fmla="*/ 5395940 h 5402412"/>
              <a:gd name="connsiteX4" fmla="*/ 1003780 w 8532345"/>
              <a:gd name="connsiteY4" fmla="*/ 537292 h 5402412"/>
              <a:gd name="connsiteX0" fmla="*/ 1003780 w 8517485"/>
              <a:gd name="connsiteY0" fmla="*/ 537292 h 5410000"/>
              <a:gd name="connsiteX1" fmla="*/ 8511685 w 8517485"/>
              <a:gd name="connsiteY1" fmla="*/ 1007899 h 5410000"/>
              <a:gd name="connsiteX2" fmla="*/ 8516875 w 8517485"/>
              <a:gd name="connsiteY2" fmla="*/ 5410000 h 5410000"/>
              <a:gd name="connsiteX3" fmla="*/ 626493 w 8517485"/>
              <a:gd name="connsiteY3" fmla="*/ 5395940 h 5410000"/>
              <a:gd name="connsiteX4" fmla="*/ 1003780 w 8517485"/>
              <a:gd name="connsiteY4" fmla="*/ 537292 h 5410000"/>
              <a:gd name="connsiteX0" fmla="*/ 1003780 w 8517485"/>
              <a:gd name="connsiteY0" fmla="*/ 537292 h 5402412"/>
              <a:gd name="connsiteX1" fmla="*/ 8511685 w 8517485"/>
              <a:gd name="connsiteY1" fmla="*/ 1007899 h 5402412"/>
              <a:gd name="connsiteX2" fmla="*/ 8516875 w 8517485"/>
              <a:gd name="connsiteY2" fmla="*/ 5402412 h 5402412"/>
              <a:gd name="connsiteX3" fmla="*/ 626493 w 8517485"/>
              <a:gd name="connsiteY3" fmla="*/ 5395940 h 5402412"/>
              <a:gd name="connsiteX4" fmla="*/ 1003780 w 8517485"/>
              <a:gd name="connsiteY4" fmla="*/ 537292 h 54024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17485" h="5402412">
                <a:moveTo>
                  <a:pt x="1003780" y="537292"/>
                </a:moveTo>
                <a:cubicBezTo>
                  <a:pt x="3529564" y="-756533"/>
                  <a:pt x="7525334" y="646544"/>
                  <a:pt x="8511685" y="1007899"/>
                </a:cubicBezTo>
                <a:cubicBezTo>
                  <a:pt x="8508298" y="3151659"/>
                  <a:pt x="8520262" y="3258652"/>
                  <a:pt x="8516875" y="5402412"/>
                </a:cubicBezTo>
                <a:lnTo>
                  <a:pt x="626493" y="5395940"/>
                </a:lnTo>
                <a:cubicBezTo>
                  <a:pt x="180761" y="4528283"/>
                  <a:pt x="-696485" y="1558480"/>
                  <a:pt x="1003780" y="537292"/>
                </a:cubicBezTo>
                <a:close/>
              </a:path>
            </a:pathLst>
          </a:custGeom>
        </p:spPr>
        <p:txBody>
          <a:bodyPr/>
          <a:lstStyle/>
          <a:p>
            <a:r>
              <a:rPr lang="en-US" dirty="0"/>
              <a:t>Click icon to add picture</a:t>
            </a:r>
          </a:p>
        </p:txBody>
      </p:sp>
    </p:spTree>
    <p:extLst>
      <p:ext uri="{BB962C8B-B14F-4D97-AF65-F5344CB8AC3E}">
        <p14:creationId xmlns:p14="http://schemas.microsoft.com/office/powerpoint/2010/main" val="103600146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Title and Tex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B5A5B8F0-6C35-4C1F-A572-1A72AEE99AE1}"/>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9" imgH="360" progId="TCLayout.ActiveDocument.1">
                  <p:embed/>
                </p:oleObj>
              </mc:Choice>
              <mc:Fallback>
                <p:oleObj name="think-cell Slide" r:id="rId4" imgW="359" imgH="360" progId="TCLayout.ActiveDocument.1">
                  <p:embed/>
                  <p:pic>
                    <p:nvPicPr>
                      <p:cNvPr id="8" name="Object 7" hidden="1">
                        <a:extLst>
                          <a:ext uri="{FF2B5EF4-FFF2-40B4-BE49-F238E27FC236}">
                            <a16:creationId xmlns:a16="http://schemas.microsoft.com/office/drawing/2014/main" id="{B5A5B8F0-6C35-4C1F-A572-1A72AEE99AE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8BBE3A15-AB52-4BE6-80D7-75E39EA88BAB}"/>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800" b="1" i="0" baseline="0" dirty="0">
              <a:latin typeface="Century Gothic" panose="020B0502020202020204" pitchFamily="34" charset="0"/>
              <a:ea typeface="+mj-ea"/>
              <a:cs typeface="+mj-cs"/>
              <a:sym typeface="Century Gothic" panose="020B0502020202020204" pitchFamily="34" charset="0"/>
            </a:endParaRPr>
          </a:p>
        </p:txBody>
      </p:sp>
      <p:sp>
        <p:nvSpPr>
          <p:cNvPr id="9" name="Title 8">
            <a:extLst>
              <a:ext uri="{FF2B5EF4-FFF2-40B4-BE49-F238E27FC236}">
                <a16:creationId xmlns:a16="http://schemas.microsoft.com/office/drawing/2014/main" id="{57A735C9-FE54-4026-930C-4F754E1E80D2}"/>
              </a:ext>
            </a:extLst>
          </p:cNvPr>
          <p:cNvSpPr>
            <a:spLocks noGrp="1"/>
          </p:cNvSpPr>
          <p:nvPr>
            <p:ph type="title"/>
          </p:nvPr>
        </p:nvSpPr>
        <p:spPr>
          <a:xfrm>
            <a:off x="838200" y="647222"/>
            <a:ext cx="9850012" cy="655200"/>
          </a:xfrm>
        </p:spPr>
        <p:txBody>
          <a:bodyPr lIns="0"/>
          <a:lstStyle/>
          <a:p>
            <a:r>
              <a:rPr lang="en-US"/>
              <a:t>Click to edit Master title style</a:t>
            </a:r>
            <a:endParaRPr lang="en-GB" dirty="0"/>
          </a:p>
        </p:txBody>
      </p:sp>
      <p:sp>
        <p:nvSpPr>
          <p:cNvPr id="13" name="Date Placeholder 12">
            <a:extLst>
              <a:ext uri="{FF2B5EF4-FFF2-40B4-BE49-F238E27FC236}">
                <a16:creationId xmlns:a16="http://schemas.microsoft.com/office/drawing/2014/main" id="{2836FA22-721B-41E3-9F4B-C5625FD25E65}"/>
              </a:ext>
            </a:extLst>
          </p:cNvPr>
          <p:cNvSpPr>
            <a:spLocks noGrp="1"/>
          </p:cNvSpPr>
          <p:nvPr>
            <p:ph type="dt" sz="half" idx="10"/>
          </p:nvPr>
        </p:nvSpPr>
        <p:spPr/>
        <p:txBody>
          <a:bodyPr/>
          <a:lstStyle/>
          <a:p>
            <a:fld id="{2495D558-A357-40BA-BEE1-3BF1662F4D42}" type="datetime1">
              <a:rPr lang="en-US" smtClean="0"/>
              <a:t>10/19/2023</a:t>
            </a:fld>
            <a:endParaRPr lang="en-GB" dirty="0"/>
          </a:p>
        </p:txBody>
      </p:sp>
      <p:sp>
        <p:nvSpPr>
          <p:cNvPr id="14" name="Footer Placeholder 13">
            <a:extLst>
              <a:ext uri="{FF2B5EF4-FFF2-40B4-BE49-F238E27FC236}">
                <a16:creationId xmlns:a16="http://schemas.microsoft.com/office/drawing/2014/main" id="{B129E077-2578-4337-868A-C8DFE01777C5}"/>
              </a:ext>
            </a:extLst>
          </p:cNvPr>
          <p:cNvSpPr>
            <a:spLocks noGrp="1"/>
          </p:cNvSpPr>
          <p:nvPr>
            <p:ph type="ftr" sz="quarter" idx="11"/>
          </p:nvPr>
        </p:nvSpPr>
        <p:spPr/>
        <p:txBody>
          <a:bodyPr/>
          <a:lstStyle/>
          <a:p>
            <a:endParaRPr lang="en-GB" dirty="0"/>
          </a:p>
        </p:txBody>
      </p:sp>
      <p:sp>
        <p:nvSpPr>
          <p:cNvPr id="15" name="Slide Number Placeholder 14">
            <a:extLst>
              <a:ext uri="{FF2B5EF4-FFF2-40B4-BE49-F238E27FC236}">
                <a16:creationId xmlns:a16="http://schemas.microsoft.com/office/drawing/2014/main" id="{DDB6CD78-7E02-44B4-A267-8347E97443E0}"/>
              </a:ext>
            </a:extLst>
          </p:cNvPr>
          <p:cNvSpPr>
            <a:spLocks noGrp="1"/>
          </p:cNvSpPr>
          <p:nvPr>
            <p:ph type="sldNum" sz="quarter" idx="12"/>
          </p:nvPr>
        </p:nvSpPr>
        <p:spPr/>
        <p:txBody>
          <a:bodyPr/>
          <a:lstStyle/>
          <a:p>
            <a:fld id="{55E5625F-1FD2-1C4F-96E4-1B7E00555D74}" type="slidenum">
              <a:rPr lang="nl-BE" smtClean="0"/>
              <a:pPr/>
              <a:t>‹#›</a:t>
            </a:fld>
            <a:endParaRPr lang="nl-BE" dirty="0"/>
          </a:p>
        </p:txBody>
      </p:sp>
      <p:sp>
        <p:nvSpPr>
          <p:cNvPr id="4" name="Text Placeholder 3">
            <a:extLst>
              <a:ext uri="{FF2B5EF4-FFF2-40B4-BE49-F238E27FC236}">
                <a16:creationId xmlns:a16="http://schemas.microsoft.com/office/drawing/2014/main" id="{56C9C983-7450-4BC1-BA74-C806F80D4189}"/>
              </a:ext>
            </a:extLst>
          </p:cNvPr>
          <p:cNvSpPr>
            <a:spLocks noGrp="1"/>
          </p:cNvSpPr>
          <p:nvPr>
            <p:ph type="body" sz="quarter" idx="13"/>
          </p:nvPr>
        </p:nvSpPr>
        <p:spPr>
          <a:xfrm>
            <a:off x="838200" y="1584000"/>
            <a:ext cx="9850438" cy="3881437"/>
          </a:xfrm>
        </p:spPr>
        <p:txBody>
          <a:bodyPr/>
          <a:lstStyle>
            <a:lvl1pPr marL="0" indent="0">
              <a:buFontTx/>
              <a:buNone/>
              <a:defRPr/>
            </a:lvl1pPr>
          </a:lstStyle>
          <a:p>
            <a:pPr lvl="0"/>
            <a:r>
              <a:rPr lang="en-US"/>
              <a:t>Click to edit Master text styles</a:t>
            </a:r>
          </a:p>
        </p:txBody>
      </p:sp>
    </p:spTree>
    <p:extLst>
      <p:ext uri="{BB962C8B-B14F-4D97-AF65-F5344CB8AC3E}">
        <p14:creationId xmlns:p14="http://schemas.microsoft.com/office/powerpoint/2010/main" val="31114421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Section Header with Image 1">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6D24BA90-E7BA-471E-AA13-3329EDCD80A2}"/>
              </a:ext>
            </a:extLst>
          </p:cNvPr>
          <p:cNvSpPr/>
          <p:nvPr userDrawn="1"/>
        </p:nvSpPr>
        <p:spPr>
          <a:xfrm flipV="1">
            <a:off x="-1" y="-3"/>
            <a:ext cx="12192001" cy="6858003"/>
          </a:xfrm>
          <a:custGeom>
            <a:avLst/>
            <a:gdLst>
              <a:gd name="connsiteX0" fmla="*/ 9171734 w 12192001"/>
              <a:gd name="connsiteY0" fmla="*/ 2269381 h 6858003"/>
              <a:gd name="connsiteX1" fmla="*/ 4981292 w 12192001"/>
              <a:gd name="connsiteY1" fmla="*/ 1670903 h 6858003"/>
              <a:gd name="connsiteX2" fmla="*/ 634550 w 12192001"/>
              <a:gd name="connsiteY2" fmla="*/ 1013497 h 6858003"/>
              <a:gd name="connsiteX3" fmla="*/ 123993 w 12192001"/>
              <a:gd name="connsiteY3" fmla="*/ 984148 h 6858003"/>
              <a:gd name="connsiteX4" fmla="*/ 123993 w 12192001"/>
              <a:gd name="connsiteY4" fmla="*/ 123993 h 6858003"/>
              <a:gd name="connsiteX5" fmla="*/ 12068007 w 12192001"/>
              <a:gd name="connsiteY5" fmla="*/ 123993 h 6858003"/>
              <a:gd name="connsiteX6" fmla="*/ 12068007 w 12192001"/>
              <a:gd name="connsiteY6" fmla="*/ 1962695 h 6858003"/>
              <a:gd name="connsiteX7" fmla="*/ 11543532 w 12192001"/>
              <a:gd name="connsiteY7" fmla="*/ 2051091 h 6858003"/>
              <a:gd name="connsiteX8" fmla="*/ 9171734 w 12192001"/>
              <a:gd name="connsiteY8" fmla="*/ 2269381 h 6858003"/>
              <a:gd name="connsiteX9" fmla="*/ 1 w 12192001"/>
              <a:gd name="connsiteY9" fmla="*/ 6858003 h 6858003"/>
              <a:gd name="connsiteX10" fmla="*/ 12192001 w 12192001"/>
              <a:gd name="connsiteY10" fmla="*/ 6858003 h 6858003"/>
              <a:gd name="connsiteX11" fmla="*/ 12192001 w 12192001"/>
              <a:gd name="connsiteY11" fmla="*/ 2724879 h 6858003"/>
              <a:gd name="connsiteX12" fmla="*/ 12192001 w 12192001"/>
              <a:gd name="connsiteY12" fmla="*/ 2477360 h 6858003"/>
              <a:gd name="connsiteX13" fmla="*/ 12192001 w 12192001"/>
              <a:gd name="connsiteY13" fmla="*/ 1941781 h 6858003"/>
              <a:gd name="connsiteX14" fmla="*/ 12192000 w 12192001"/>
              <a:gd name="connsiteY14" fmla="*/ 1941781 h 6858003"/>
              <a:gd name="connsiteX15" fmla="*/ 12192000 w 12192001"/>
              <a:gd name="connsiteY15" fmla="*/ 0 h 6858003"/>
              <a:gd name="connsiteX16" fmla="*/ 0 w 12192001"/>
              <a:gd name="connsiteY16" fmla="*/ 0 h 6858003"/>
              <a:gd name="connsiteX17" fmla="*/ 0 w 12192001"/>
              <a:gd name="connsiteY17" fmla="*/ 6858000 h 6858003"/>
              <a:gd name="connsiteX18" fmla="*/ 1 w 12192001"/>
              <a:gd name="connsiteY18" fmla="*/ 6858000 h 6858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2192001" h="6858003">
                <a:moveTo>
                  <a:pt x="9171734" y="2269381"/>
                </a:moveTo>
                <a:cubicBezTo>
                  <a:pt x="8159059" y="2253684"/>
                  <a:pt x="6843276" y="2101858"/>
                  <a:pt x="4981292" y="1670903"/>
                </a:cubicBezTo>
                <a:cubicBezTo>
                  <a:pt x="3385010" y="1301444"/>
                  <a:pt x="2075869" y="1110459"/>
                  <a:pt x="634550" y="1013497"/>
                </a:cubicBezTo>
                <a:lnTo>
                  <a:pt x="123993" y="984148"/>
                </a:lnTo>
                <a:lnTo>
                  <a:pt x="123993" y="123993"/>
                </a:lnTo>
                <a:lnTo>
                  <a:pt x="12068007" y="123993"/>
                </a:lnTo>
                <a:lnTo>
                  <a:pt x="12068007" y="1962695"/>
                </a:lnTo>
                <a:lnTo>
                  <a:pt x="11543532" y="2051091"/>
                </a:lnTo>
                <a:cubicBezTo>
                  <a:pt x="10893978" y="2164649"/>
                  <a:pt x="10184410" y="2285079"/>
                  <a:pt x="9171734" y="2269381"/>
                </a:cubicBezTo>
                <a:close/>
                <a:moveTo>
                  <a:pt x="1" y="6858003"/>
                </a:moveTo>
                <a:lnTo>
                  <a:pt x="12192001" y="6858003"/>
                </a:lnTo>
                <a:lnTo>
                  <a:pt x="12192001" y="2724879"/>
                </a:lnTo>
                <a:lnTo>
                  <a:pt x="12192001" y="2477360"/>
                </a:lnTo>
                <a:lnTo>
                  <a:pt x="12192001" y="1941781"/>
                </a:lnTo>
                <a:lnTo>
                  <a:pt x="12192000" y="1941781"/>
                </a:lnTo>
                <a:lnTo>
                  <a:pt x="12192000" y="0"/>
                </a:lnTo>
                <a:lnTo>
                  <a:pt x="0" y="0"/>
                </a:lnTo>
                <a:lnTo>
                  <a:pt x="0" y="6858000"/>
                </a:lnTo>
                <a:lnTo>
                  <a:pt x="1"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11" name="Picture Placeholder 10">
            <a:extLst>
              <a:ext uri="{FF2B5EF4-FFF2-40B4-BE49-F238E27FC236}">
                <a16:creationId xmlns:a16="http://schemas.microsoft.com/office/drawing/2014/main" id="{9467520A-F508-4AA5-BBCF-30AE2B312E04}"/>
              </a:ext>
            </a:extLst>
          </p:cNvPr>
          <p:cNvSpPr>
            <a:spLocks noGrp="1"/>
          </p:cNvSpPr>
          <p:nvPr>
            <p:ph type="pic" sz="quarter" idx="13" hasCustomPrompt="1"/>
          </p:nvPr>
        </p:nvSpPr>
        <p:spPr>
          <a:xfrm>
            <a:off x="123992" y="4587876"/>
            <a:ext cx="11944014" cy="2146775"/>
          </a:xfrm>
          <a:custGeom>
            <a:avLst/>
            <a:gdLst>
              <a:gd name="connsiteX0" fmla="*/ 9047741 w 11944014"/>
              <a:gd name="connsiteY0" fmla="*/ 1387 h 2146775"/>
              <a:gd name="connsiteX1" fmla="*/ 11419539 w 11944014"/>
              <a:gd name="connsiteY1" fmla="*/ 219677 h 2146775"/>
              <a:gd name="connsiteX2" fmla="*/ 11944014 w 11944014"/>
              <a:gd name="connsiteY2" fmla="*/ 308073 h 2146775"/>
              <a:gd name="connsiteX3" fmla="*/ 11944014 w 11944014"/>
              <a:gd name="connsiteY3" fmla="*/ 2146775 h 2146775"/>
              <a:gd name="connsiteX4" fmla="*/ 0 w 11944014"/>
              <a:gd name="connsiteY4" fmla="*/ 2146775 h 2146775"/>
              <a:gd name="connsiteX5" fmla="*/ 0 w 11944014"/>
              <a:gd name="connsiteY5" fmla="*/ 1286620 h 2146775"/>
              <a:gd name="connsiteX6" fmla="*/ 510557 w 11944014"/>
              <a:gd name="connsiteY6" fmla="*/ 1257271 h 2146775"/>
              <a:gd name="connsiteX7" fmla="*/ 4857299 w 11944014"/>
              <a:gd name="connsiteY7" fmla="*/ 599865 h 2146775"/>
              <a:gd name="connsiteX8" fmla="*/ 9047741 w 11944014"/>
              <a:gd name="connsiteY8" fmla="*/ 1387 h 2146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944014" h="2146775">
                <a:moveTo>
                  <a:pt x="9047741" y="1387"/>
                </a:moveTo>
                <a:cubicBezTo>
                  <a:pt x="10060417" y="-14311"/>
                  <a:pt x="10769985" y="106119"/>
                  <a:pt x="11419539" y="219677"/>
                </a:cubicBezTo>
                <a:lnTo>
                  <a:pt x="11944014" y="308073"/>
                </a:lnTo>
                <a:lnTo>
                  <a:pt x="11944014" y="2146775"/>
                </a:lnTo>
                <a:lnTo>
                  <a:pt x="0" y="2146775"/>
                </a:lnTo>
                <a:lnTo>
                  <a:pt x="0" y="1286620"/>
                </a:lnTo>
                <a:lnTo>
                  <a:pt x="510557" y="1257271"/>
                </a:lnTo>
                <a:cubicBezTo>
                  <a:pt x="1951876" y="1160309"/>
                  <a:pt x="3261017" y="969324"/>
                  <a:pt x="4857299" y="599865"/>
                </a:cubicBezTo>
                <a:cubicBezTo>
                  <a:pt x="6719283" y="168910"/>
                  <a:pt x="8035066" y="17084"/>
                  <a:pt x="9047741" y="1387"/>
                </a:cubicBezTo>
                <a:close/>
              </a:path>
            </a:pathLst>
          </a:custGeom>
          <a:solidFill>
            <a:schemeClr val="bg1">
              <a:lumMod val="95000"/>
            </a:schemeClr>
          </a:solidFill>
        </p:spPr>
        <p:txBody>
          <a:bodyPr vert="horz" wrap="square" lIns="91440" tIns="45720" rIns="91440" bIns="45720" rtlCol="0" anchor="ctr" anchorCtr="1">
            <a:noAutofit/>
          </a:bodyPr>
          <a:lstStyle>
            <a:lvl1pPr marL="0" indent="0">
              <a:buNone/>
              <a:defRPr lang="en-GB" sz="1800" dirty="0"/>
            </a:lvl1pPr>
          </a:lstStyle>
          <a:p>
            <a:pPr marL="228600" lvl="0" indent="-228600" algn="ctr"/>
            <a:r>
              <a:rPr lang="en-US" noProof="0" dirty="0"/>
              <a:t>Insert Image</a:t>
            </a:r>
          </a:p>
        </p:txBody>
      </p:sp>
      <p:sp>
        <p:nvSpPr>
          <p:cNvPr id="2" name="Title 1">
            <a:extLst>
              <a:ext uri="{FF2B5EF4-FFF2-40B4-BE49-F238E27FC236}">
                <a16:creationId xmlns:a16="http://schemas.microsoft.com/office/drawing/2014/main" id="{8C9A3716-1F35-4634-B53D-27722735B2D5}"/>
              </a:ext>
            </a:extLst>
          </p:cNvPr>
          <p:cNvSpPr>
            <a:spLocks noGrp="1"/>
          </p:cNvSpPr>
          <p:nvPr>
            <p:ph type="title" hasCustomPrompt="1"/>
          </p:nvPr>
        </p:nvSpPr>
        <p:spPr>
          <a:xfrm>
            <a:off x="696686" y="1611383"/>
            <a:ext cx="9666514" cy="746846"/>
          </a:xfrm>
        </p:spPr>
        <p:txBody>
          <a:bodyPr anchor="t">
            <a:noAutofit/>
          </a:bodyPr>
          <a:lstStyle>
            <a:lvl1pPr>
              <a:defRPr sz="4800" spc="-150">
                <a:solidFill>
                  <a:schemeClr val="tx1">
                    <a:lumMod val="75000"/>
                    <a:lumOff val="25000"/>
                  </a:schemeClr>
                </a:solidFill>
              </a:defRPr>
            </a:lvl1pPr>
          </a:lstStyle>
          <a:p>
            <a:r>
              <a:rPr lang="en-US" noProof="0"/>
              <a:t>Section Header 1</a:t>
            </a:r>
          </a:p>
        </p:txBody>
      </p:sp>
      <p:sp>
        <p:nvSpPr>
          <p:cNvPr id="3" name="Text Placeholder 2">
            <a:extLst>
              <a:ext uri="{FF2B5EF4-FFF2-40B4-BE49-F238E27FC236}">
                <a16:creationId xmlns:a16="http://schemas.microsoft.com/office/drawing/2014/main" id="{F96A4796-E4C0-42FE-9F82-5D46B8789E25}"/>
              </a:ext>
            </a:extLst>
          </p:cNvPr>
          <p:cNvSpPr>
            <a:spLocks noGrp="1"/>
          </p:cNvSpPr>
          <p:nvPr>
            <p:ph type="body" idx="1" hasCustomPrompt="1"/>
          </p:nvPr>
        </p:nvSpPr>
        <p:spPr>
          <a:xfrm>
            <a:off x="696686" y="2464424"/>
            <a:ext cx="9666514" cy="221599"/>
          </a:xfrm>
        </p:spPr>
        <p:txBody>
          <a:bodyPr tIns="0" bIns="0">
            <a:spAutoFit/>
          </a:bodyPr>
          <a:lstStyle>
            <a:lvl1pPr marL="0" indent="0">
              <a:buNone/>
              <a:defRPr sz="1600">
                <a:solidFill>
                  <a:schemeClr val="accent3"/>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a:t>Subtitle</a:t>
            </a:r>
          </a:p>
        </p:txBody>
      </p:sp>
      <p:sp>
        <p:nvSpPr>
          <p:cNvPr id="13" name="Rectangle 12">
            <a:extLst>
              <a:ext uri="{FF2B5EF4-FFF2-40B4-BE49-F238E27FC236}">
                <a16:creationId xmlns:a16="http://schemas.microsoft.com/office/drawing/2014/main" id="{560C8850-C2CD-4E0B-AA6F-6B884EB94B4B}"/>
              </a:ext>
            </a:extLst>
          </p:cNvPr>
          <p:cNvSpPr/>
          <p:nvPr userDrawn="1"/>
        </p:nvSpPr>
        <p:spPr>
          <a:xfrm>
            <a:off x="435429" y="1532049"/>
            <a:ext cx="72571" cy="13716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Tree>
    <p:extLst>
      <p:ext uri="{BB962C8B-B14F-4D97-AF65-F5344CB8AC3E}">
        <p14:creationId xmlns:p14="http://schemas.microsoft.com/office/powerpoint/2010/main" val="24595229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userDrawn="1">
  <p:cSld name="Section Header - Purpose - variant">
    <p:bg>
      <p:bgRef idx="1001">
        <a:schemeClr val="bg1"/>
      </p:bgRef>
    </p:bg>
    <p:spTree>
      <p:nvGrpSpPr>
        <p:cNvPr id="1" name=""/>
        <p:cNvGrpSpPr/>
        <p:nvPr/>
      </p:nvGrpSpPr>
      <p:grpSpPr>
        <a:xfrm>
          <a:off x="0" y="0"/>
          <a:ext cx="0" cy="0"/>
          <a:chOff x="0" y="0"/>
          <a:chExt cx="0" cy="0"/>
        </a:xfrm>
      </p:grpSpPr>
      <p:sp>
        <p:nvSpPr>
          <p:cNvPr id="28" name="Titel 27">
            <a:extLst>
              <a:ext uri="{FF2B5EF4-FFF2-40B4-BE49-F238E27FC236}">
                <a16:creationId xmlns:a16="http://schemas.microsoft.com/office/drawing/2014/main" id="{CF38FB4D-200E-A24A-B6A0-9DA196A2610E}"/>
              </a:ext>
            </a:extLst>
          </p:cNvPr>
          <p:cNvSpPr>
            <a:spLocks noGrp="1"/>
          </p:cNvSpPr>
          <p:nvPr>
            <p:ph type="title" hasCustomPrompt="1"/>
          </p:nvPr>
        </p:nvSpPr>
        <p:spPr>
          <a:xfrm>
            <a:off x="932468" y="3429000"/>
            <a:ext cx="10515600" cy="892175"/>
          </a:xfrm>
          <a:prstGeom prst="rect">
            <a:avLst/>
          </a:prstGeom>
        </p:spPr>
        <p:txBody>
          <a:bodyPr/>
          <a:lstStyle>
            <a:lvl1pPr>
              <a:defRPr sz="3200" b="1" i="0">
                <a:solidFill>
                  <a:srgbClr val="15234A"/>
                </a:solidFill>
                <a:latin typeface="Century Gothic" panose="020B0502020202020204" pitchFamily="34" charset="0"/>
              </a:defRPr>
            </a:lvl1pPr>
          </a:lstStyle>
          <a:p>
            <a:r>
              <a:rPr lang="en-US" dirty="0"/>
              <a:t>Click to edit crossheading</a:t>
            </a:r>
            <a:endParaRPr lang="nl-BE" dirty="0"/>
          </a:p>
        </p:txBody>
      </p:sp>
      <p:sp>
        <p:nvSpPr>
          <p:cNvPr id="2" name="Rectangle 1">
            <a:extLst>
              <a:ext uri="{FF2B5EF4-FFF2-40B4-BE49-F238E27FC236}">
                <a16:creationId xmlns:a16="http://schemas.microsoft.com/office/drawing/2014/main" id="{0A813980-3A95-FD41-BB92-B1182A1EC734}"/>
              </a:ext>
            </a:extLst>
          </p:cNvPr>
          <p:cNvSpPr/>
          <p:nvPr userDrawn="1"/>
        </p:nvSpPr>
        <p:spPr>
          <a:xfrm>
            <a:off x="-9627" y="0"/>
            <a:ext cx="6749791" cy="2879147"/>
          </a:xfrm>
          <a:custGeom>
            <a:avLst/>
            <a:gdLst>
              <a:gd name="connsiteX0" fmla="*/ 0 w 6740165"/>
              <a:gd name="connsiteY0" fmla="*/ 0 h 2875175"/>
              <a:gd name="connsiteX1" fmla="*/ 6740165 w 6740165"/>
              <a:gd name="connsiteY1" fmla="*/ 0 h 2875175"/>
              <a:gd name="connsiteX2" fmla="*/ 6740165 w 6740165"/>
              <a:gd name="connsiteY2" fmla="*/ 2875175 h 2875175"/>
              <a:gd name="connsiteX3" fmla="*/ 0 w 6740165"/>
              <a:gd name="connsiteY3" fmla="*/ 2875175 h 2875175"/>
              <a:gd name="connsiteX4" fmla="*/ 0 w 6740165"/>
              <a:gd name="connsiteY4" fmla="*/ 0 h 2875175"/>
              <a:gd name="connsiteX0" fmla="*/ 0 w 6740165"/>
              <a:gd name="connsiteY0" fmla="*/ 0 h 2875175"/>
              <a:gd name="connsiteX1" fmla="*/ 6740165 w 6740165"/>
              <a:gd name="connsiteY1" fmla="*/ 0 h 2875175"/>
              <a:gd name="connsiteX2" fmla="*/ 6740165 w 6740165"/>
              <a:gd name="connsiteY2" fmla="*/ 2875175 h 2875175"/>
              <a:gd name="connsiteX3" fmla="*/ 0 w 6740165"/>
              <a:gd name="connsiteY3" fmla="*/ 1508289 h 2875175"/>
              <a:gd name="connsiteX4" fmla="*/ 0 w 6740165"/>
              <a:gd name="connsiteY4" fmla="*/ 0 h 2875175"/>
              <a:gd name="connsiteX0" fmla="*/ 0 w 6740165"/>
              <a:gd name="connsiteY0" fmla="*/ 0 h 2875175"/>
              <a:gd name="connsiteX1" fmla="*/ 6740165 w 6740165"/>
              <a:gd name="connsiteY1" fmla="*/ 0 h 2875175"/>
              <a:gd name="connsiteX2" fmla="*/ 6740165 w 6740165"/>
              <a:gd name="connsiteY2" fmla="*/ 2875175 h 2875175"/>
              <a:gd name="connsiteX3" fmla="*/ 0 w 6740165"/>
              <a:gd name="connsiteY3" fmla="*/ 1508289 h 2875175"/>
              <a:gd name="connsiteX4" fmla="*/ 0 w 6740165"/>
              <a:gd name="connsiteY4" fmla="*/ 0 h 2875175"/>
              <a:gd name="connsiteX0" fmla="*/ 0 w 6740165"/>
              <a:gd name="connsiteY0" fmla="*/ 0 h 2903455"/>
              <a:gd name="connsiteX1" fmla="*/ 6740165 w 6740165"/>
              <a:gd name="connsiteY1" fmla="*/ 0 h 2903455"/>
              <a:gd name="connsiteX2" fmla="*/ 2366128 w 6740165"/>
              <a:gd name="connsiteY2" fmla="*/ 2903455 h 2903455"/>
              <a:gd name="connsiteX3" fmla="*/ 0 w 6740165"/>
              <a:gd name="connsiteY3" fmla="*/ 1508289 h 2903455"/>
              <a:gd name="connsiteX4" fmla="*/ 0 w 6740165"/>
              <a:gd name="connsiteY4" fmla="*/ 0 h 2903455"/>
              <a:gd name="connsiteX0" fmla="*/ 0 w 6740165"/>
              <a:gd name="connsiteY0" fmla="*/ 0 h 2903455"/>
              <a:gd name="connsiteX1" fmla="*/ 6740165 w 6740165"/>
              <a:gd name="connsiteY1" fmla="*/ 0 h 2903455"/>
              <a:gd name="connsiteX2" fmla="*/ 2366128 w 6740165"/>
              <a:gd name="connsiteY2" fmla="*/ 2903455 h 2903455"/>
              <a:gd name="connsiteX3" fmla="*/ 0 w 6740165"/>
              <a:gd name="connsiteY3" fmla="*/ 1508289 h 2903455"/>
              <a:gd name="connsiteX4" fmla="*/ 0 w 6740165"/>
              <a:gd name="connsiteY4" fmla="*/ 0 h 2903455"/>
              <a:gd name="connsiteX0" fmla="*/ 0 w 6740165"/>
              <a:gd name="connsiteY0" fmla="*/ 0 h 2903455"/>
              <a:gd name="connsiteX1" fmla="*/ 6740165 w 6740165"/>
              <a:gd name="connsiteY1" fmla="*/ 0 h 2903455"/>
              <a:gd name="connsiteX2" fmla="*/ 2366128 w 6740165"/>
              <a:gd name="connsiteY2" fmla="*/ 2903455 h 2903455"/>
              <a:gd name="connsiteX3" fmla="*/ 0 w 6740165"/>
              <a:gd name="connsiteY3" fmla="*/ 1508289 h 2903455"/>
              <a:gd name="connsiteX4" fmla="*/ 0 w 6740165"/>
              <a:gd name="connsiteY4" fmla="*/ 0 h 2903455"/>
              <a:gd name="connsiteX0" fmla="*/ 0 w 6740165"/>
              <a:gd name="connsiteY0" fmla="*/ 0 h 2903455"/>
              <a:gd name="connsiteX1" fmla="*/ 6740165 w 6740165"/>
              <a:gd name="connsiteY1" fmla="*/ 0 h 2903455"/>
              <a:gd name="connsiteX2" fmla="*/ 2366128 w 6740165"/>
              <a:gd name="connsiteY2" fmla="*/ 2903455 h 2903455"/>
              <a:gd name="connsiteX3" fmla="*/ 0 w 6740165"/>
              <a:gd name="connsiteY3" fmla="*/ 1508289 h 2903455"/>
              <a:gd name="connsiteX4" fmla="*/ 0 w 6740165"/>
              <a:gd name="connsiteY4" fmla="*/ 0 h 2903455"/>
              <a:gd name="connsiteX0" fmla="*/ 0 w 6740165"/>
              <a:gd name="connsiteY0" fmla="*/ 0 h 2887957"/>
              <a:gd name="connsiteX1" fmla="*/ 6740165 w 6740165"/>
              <a:gd name="connsiteY1" fmla="*/ 0 h 2887957"/>
              <a:gd name="connsiteX2" fmla="*/ 2373877 w 6740165"/>
              <a:gd name="connsiteY2" fmla="*/ 2887957 h 2887957"/>
              <a:gd name="connsiteX3" fmla="*/ 0 w 6740165"/>
              <a:gd name="connsiteY3" fmla="*/ 1508289 h 2887957"/>
              <a:gd name="connsiteX4" fmla="*/ 0 w 6740165"/>
              <a:gd name="connsiteY4" fmla="*/ 0 h 2887957"/>
              <a:gd name="connsiteX0" fmla="*/ 0 w 6740165"/>
              <a:gd name="connsiteY0" fmla="*/ 0 h 2887975"/>
              <a:gd name="connsiteX1" fmla="*/ 6740165 w 6740165"/>
              <a:gd name="connsiteY1" fmla="*/ 0 h 2887975"/>
              <a:gd name="connsiteX2" fmla="*/ 2373877 w 6740165"/>
              <a:gd name="connsiteY2" fmla="*/ 2887957 h 2887975"/>
              <a:gd name="connsiteX3" fmla="*/ 0 w 6740165"/>
              <a:gd name="connsiteY3" fmla="*/ 1508289 h 2887975"/>
              <a:gd name="connsiteX4" fmla="*/ 0 w 6740165"/>
              <a:gd name="connsiteY4" fmla="*/ 0 h 2887975"/>
              <a:gd name="connsiteX0" fmla="*/ 0 w 6740165"/>
              <a:gd name="connsiteY0" fmla="*/ 0 h 2887957"/>
              <a:gd name="connsiteX1" fmla="*/ 6740165 w 6740165"/>
              <a:gd name="connsiteY1" fmla="*/ 0 h 2887957"/>
              <a:gd name="connsiteX2" fmla="*/ 2373877 w 6740165"/>
              <a:gd name="connsiteY2" fmla="*/ 2887957 h 2887957"/>
              <a:gd name="connsiteX3" fmla="*/ 0 w 6740165"/>
              <a:gd name="connsiteY3" fmla="*/ 1508289 h 2887957"/>
              <a:gd name="connsiteX4" fmla="*/ 0 w 6740165"/>
              <a:gd name="connsiteY4" fmla="*/ 0 h 2887957"/>
              <a:gd name="connsiteX0" fmla="*/ 0 w 6740165"/>
              <a:gd name="connsiteY0" fmla="*/ 0 h 2887957"/>
              <a:gd name="connsiteX1" fmla="*/ 6740165 w 6740165"/>
              <a:gd name="connsiteY1" fmla="*/ 0 h 2887957"/>
              <a:gd name="connsiteX2" fmla="*/ 2373877 w 6740165"/>
              <a:gd name="connsiteY2" fmla="*/ 2887957 h 2887957"/>
              <a:gd name="connsiteX3" fmla="*/ 0 w 6740165"/>
              <a:gd name="connsiteY3" fmla="*/ 1508289 h 2887957"/>
              <a:gd name="connsiteX4" fmla="*/ 0 w 6740165"/>
              <a:gd name="connsiteY4" fmla="*/ 0 h 2887957"/>
              <a:gd name="connsiteX0" fmla="*/ 0 w 6740165"/>
              <a:gd name="connsiteY0" fmla="*/ 0 h 2887957"/>
              <a:gd name="connsiteX1" fmla="*/ 6740165 w 6740165"/>
              <a:gd name="connsiteY1" fmla="*/ 0 h 2887957"/>
              <a:gd name="connsiteX2" fmla="*/ 2373877 w 6740165"/>
              <a:gd name="connsiteY2" fmla="*/ 2887957 h 2887957"/>
              <a:gd name="connsiteX3" fmla="*/ 0 w 6740165"/>
              <a:gd name="connsiteY3" fmla="*/ 1508289 h 2887957"/>
              <a:gd name="connsiteX4" fmla="*/ 0 w 6740165"/>
              <a:gd name="connsiteY4" fmla="*/ 0 h 2887957"/>
              <a:gd name="connsiteX0" fmla="*/ 0 w 6740165"/>
              <a:gd name="connsiteY0" fmla="*/ 0 h 2888028"/>
              <a:gd name="connsiteX1" fmla="*/ 6740165 w 6740165"/>
              <a:gd name="connsiteY1" fmla="*/ 0 h 2888028"/>
              <a:gd name="connsiteX2" fmla="*/ 2373877 w 6740165"/>
              <a:gd name="connsiteY2" fmla="*/ 2887957 h 2888028"/>
              <a:gd name="connsiteX3" fmla="*/ 0 w 6740165"/>
              <a:gd name="connsiteY3" fmla="*/ 1508289 h 2888028"/>
              <a:gd name="connsiteX4" fmla="*/ 0 w 6740165"/>
              <a:gd name="connsiteY4" fmla="*/ 0 h 2888028"/>
              <a:gd name="connsiteX0" fmla="*/ 0 w 6740165"/>
              <a:gd name="connsiteY0" fmla="*/ 0 h 2888033"/>
              <a:gd name="connsiteX1" fmla="*/ 6740165 w 6740165"/>
              <a:gd name="connsiteY1" fmla="*/ 0 h 2888033"/>
              <a:gd name="connsiteX2" fmla="*/ 2373877 w 6740165"/>
              <a:gd name="connsiteY2" fmla="*/ 2887957 h 2888033"/>
              <a:gd name="connsiteX3" fmla="*/ 0 w 6740165"/>
              <a:gd name="connsiteY3" fmla="*/ 1508289 h 2888033"/>
              <a:gd name="connsiteX4" fmla="*/ 0 w 6740165"/>
              <a:gd name="connsiteY4" fmla="*/ 0 h 2888033"/>
              <a:gd name="connsiteX0" fmla="*/ 0 w 6740165"/>
              <a:gd name="connsiteY0" fmla="*/ 0 h 2887957"/>
              <a:gd name="connsiteX1" fmla="*/ 6740165 w 6740165"/>
              <a:gd name="connsiteY1" fmla="*/ 0 h 2887957"/>
              <a:gd name="connsiteX2" fmla="*/ 2373877 w 6740165"/>
              <a:gd name="connsiteY2" fmla="*/ 2887957 h 2887957"/>
              <a:gd name="connsiteX3" fmla="*/ 0 w 6740165"/>
              <a:gd name="connsiteY3" fmla="*/ 1508289 h 2887957"/>
              <a:gd name="connsiteX4" fmla="*/ 0 w 6740165"/>
              <a:gd name="connsiteY4" fmla="*/ 0 h 2887957"/>
              <a:gd name="connsiteX0" fmla="*/ 0 w 6740165"/>
              <a:gd name="connsiteY0" fmla="*/ 0 h 2891813"/>
              <a:gd name="connsiteX1" fmla="*/ 6740165 w 6740165"/>
              <a:gd name="connsiteY1" fmla="*/ 0 h 2891813"/>
              <a:gd name="connsiteX2" fmla="*/ 2373877 w 6740165"/>
              <a:gd name="connsiteY2" fmla="*/ 2887957 h 2891813"/>
              <a:gd name="connsiteX3" fmla="*/ 0 w 6740165"/>
              <a:gd name="connsiteY3" fmla="*/ 1508289 h 2891813"/>
              <a:gd name="connsiteX4" fmla="*/ 0 w 6740165"/>
              <a:gd name="connsiteY4" fmla="*/ 0 h 2891813"/>
              <a:gd name="connsiteX0" fmla="*/ 0 w 6740165"/>
              <a:gd name="connsiteY0" fmla="*/ 0 h 2891813"/>
              <a:gd name="connsiteX1" fmla="*/ 6740165 w 6740165"/>
              <a:gd name="connsiteY1" fmla="*/ 0 h 2891813"/>
              <a:gd name="connsiteX2" fmla="*/ 2373877 w 6740165"/>
              <a:gd name="connsiteY2" fmla="*/ 2887957 h 2891813"/>
              <a:gd name="connsiteX3" fmla="*/ 0 w 6740165"/>
              <a:gd name="connsiteY3" fmla="*/ 1508289 h 2891813"/>
              <a:gd name="connsiteX4" fmla="*/ 0 w 6740165"/>
              <a:gd name="connsiteY4" fmla="*/ 0 h 2891813"/>
              <a:gd name="connsiteX0" fmla="*/ 0 w 6740165"/>
              <a:gd name="connsiteY0" fmla="*/ 0 h 2815027"/>
              <a:gd name="connsiteX1" fmla="*/ 6740165 w 6740165"/>
              <a:gd name="connsiteY1" fmla="*/ 0 h 2815027"/>
              <a:gd name="connsiteX2" fmla="*/ 2784582 w 6740165"/>
              <a:gd name="connsiteY2" fmla="*/ 2810465 h 2815027"/>
              <a:gd name="connsiteX3" fmla="*/ 0 w 6740165"/>
              <a:gd name="connsiteY3" fmla="*/ 1508289 h 2815027"/>
              <a:gd name="connsiteX4" fmla="*/ 0 w 6740165"/>
              <a:gd name="connsiteY4" fmla="*/ 0 h 2815027"/>
              <a:gd name="connsiteX0" fmla="*/ 0 w 6740165"/>
              <a:gd name="connsiteY0" fmla="*/ 0 h 2815027"/>
              <a:gd name="connsiteX1" fmla="*/ 6740165 w 6740165"/>
              <a:gd name="connsiteY1" fmla="*/ 0 h 2815027"/>
              <a:gd name="connsiteX2" fmla="*/ 2784582 w 6740165"/>
              <a:gd name="connsiteY2" fmla="*/ 2810465 h 2815027"/>
              <a:gd name="connsiteX3" fmla="*/ 0 w 6740165"/>
              <a:gd name="connsiteY3" fmla="*/ 1508289 h 2815027"/>
              <a:gd name="connsiteX4" fmla="*/ 0 w 6740165"/>
              <a:gd name="connsiteY4" fmla="*/ 0 h 2815027"/>
              <a:gd name="connsiteX0" fmla="*/ 0 w 6740165"/>
              <a:gd name="connsiteY0" fmla="*/ 0 h 2753802"/>
              <a:gd name="connsiteX1" fmla="*/ 6740165 w 6740165"/>
              <a:gd name="connsiteY1" fmla="*/ 0 h 2753802"/>
              <a:gd name="connsiteX2" fmla="*/ 3048054 w 6740165"/>
              <a:gd name="connsiteY2" fmla="*/ 2748472 h 2753802"/>
              <a:gd name="connsiteX3" fmla="*/ 0 w 6740165"/>
              <a:gd name="connsiteY3" fmla="*/ 1508289 h 2753802"/>
              <a:gd name="connsiteX4" fmla="*/ 0 w 6740165"/>
              <a:gd name="connsiteY4" fmla="*/ 0 h 2753802"/>
              <a:gd name="connsiteX0" fmla="*/ 0 w 6740165"/>
              <a:gd name="connsiteY0" fmla="*/ 0 h 2753802"/>
              <a:gd name="connsiteX1" fmla="*/ 6740165 w 6740165"/>
              <a:gd name="connsiteY1" fmla="*/ 0 h 2753802"/>
              <a:gd name="connsiteX2" fmla="*/ 3048054 w 6740165"/>
              <a:gd name="connsiteY2" fmla="*/ 2748472 h 2753802"/>
              <a:gd name="connsiteX3" fmla="*/ 0 w 6740165"/>
              <a:gd name="connsiteY3" fmla="*/ 1508289 h 2753802"/>
              <a:gd name="connsiteX4" fmla="*/ 0 w 6740165"/>
              <a:gd name="connsiteY4" fmla="*/ 0 h 2753802"/>
              <a:gd name="connsiteX0" fmla="*/ 0 w 6886087"/>
              <a:gd name="connsiteY0" fmla="*/ 0 h 2753802"/>
              <a:gd name="connsiteX1" fmla="*/ 6740165 w 6886087"/>
              <a:gd name="connsiteY1" fmla="*/ 0 h 2753802"/>
              <a:gd name="connsiteX2" fmla="*/ 4510007 w 6886087"/>
              <a:gd name="connsiteY2" fmla="*/ 1867545 h 2753802"/>
              <a:gd name="connsiteX3" fmla="*/ 3048054 w 6886087"/>
              <a:gd name="connsiteY3" fmla="*/ 2748472 h 2753802"/>
              <a:gd name="connsiteX4" fmla="*/ 0 w 6886087"/>
              <a:gd name="connsiteY4" fmla="*/ 1508289 h 2753802"/>
              <a:gd name="connsiteX5" fmla="*/ 0 w 6886087"/>
              <a:gd name="connsiteY5" fmla="*/ 0 h 2753802"/>
              <a:gd name="connsiteX0" fmla="*/ 0 w 6886087"/>
              <a:gd name="connsiteY0" fmla="*/ 0 h 2868868"/>
              <a:gd name="connsiteX1" fmla="*/ 6740165 w 6886087"/>
              <a:gd name="connsiteY1" fmla="*/ 0 h 2868868"/>
              <a:gd name="connsiteX2" fmla="*/ 4510007 w 6886087"/>
              <a:gd name="connsiteY2" fmla="*/ 1867545 h 2868868"/>
              <a:gd name="connsiteX3" fmla="*/ 2249891 w 6886087"/>
              <a:gd name="connsiteY3" fmla="*/ 2864709 h 2868868"/>
              <a:gd name="connsiteX4" fmla="*/ 0 w 6886087"/>
              <a:gd name="connsiteY4" fmla="*/ 1508289 h 2868868"/>
              <a:gd name="connsiteX5" fmla="*/ 0 w 6886087"/>
              <a:gd name="connsiteY5" fmla="*/ 0 h 2868868"/>
              <a:gd name="connsiteX0" fmla="*/ 0 w 6886087"/>
              <a:gd name="connsiteY0" fmla="*/ 0 h 2868868"/>
              <a:gd name="connsiteX1" fmla="*/ 6740165 w 6886087"/>
              <a:gd name="connsiteY1" fmla="*/ 0 h 2868868"/>
              <a:gd name="connsiteX2" fmla="*/ 4510007 w 6886087"/>
              <a:gd name="connsiteY2" fmla="*/ 1867545 h 2868868"/>
              <a:gd name="connsiteX3" fmla="*/ 2249891 w 6886087"/>
              <a:gd name="connsiteY3" fmla="*/ 2864709 h 2868868"/>
              <a:gd name="connsiteX4" fmla="*/ 0 w 6886087"/>
              <a:gd name="connsiteY4" fmla="*/ 1508289 h 2868868"/>
              <a:gd name="connsiteX5" fmla="*/ 0 w 6886087"/>
              <a:gd name="connsiteY5" fmla="*/ 0 h 2868868"/>
              <a:gd name="connsiteX0" fmla="*/ 0 w 6886087"/>
              <a:gd name="connsiteY0" fmla="*/ 0 h 2864709"/>
              <a:gd name="connsiteX1" fmla="*/ 6740165 w 6886087"/>
              <a:gd name="connsiteY1" fmla="*/ 0 h 2864709"/>
              <a:gd name="connsiteX2" fmla="*/ 4510007 w 6886087"/>
              <a:gd name="connsiteY2" fmla="*/ 1867545 h 2864709"/>
              <a:gd name="connsiteX3" fmla="*/ 2249891 w 6886087"/>
              <a:gd name="connsiteY3" fmla="*/ 2864709 h 2864709"/>
              <a:gd name="connsiteX4" fmla="*/ 0 w 6886087"/>
              <a:gd name="connsiteY4" fmla="*/ 1508289 h 2864709"/>
              <a:gd name="connsiteX5" fmla="*/ 0 w 6886087"/>
              <a:gd name="connsiteY5" fmla="*/ 0 h 2864709"/>
              <a:gd name="connsiteX0" fmla="*/ 0 w 6876064"/>
              <a:gd name="connsiteY0" fmla="*/ 0 h 2864709"/>
              <a:gd name="connsiteX1" fmla="*/ 6740165 w 6876064"/>
              <a:gd name="connsiteY1" fmla="*/ 0 h 2864709"/>
              <a:gd name="connsiteX2" fmla="*/ 4293031 w 6876064"/>
              <a:gd name="connsiteY2" fmla="*/ 1991531 h 2864709"/>
              <a:gd name="connsiteX3" fmla="*/ 2249891 w 6876064"/>
              <a:gd name="connsiteY3" fmla="*/ 2864709 h 2864709"/>
              <a:gd name="connsiteX4" fmla="*/ 0 w 6876064"/>
              <a:gd name="connsiteY4" fmla="*/ 1508289 h 2864709"/>
              <a:gd name="connsiteX5" fmla="*/ 0 w 6876064"/>
              <a:gd name="connsiteY5" fmla="*/ 0 h 2864709"/>
              <a:gd name="connsiteX0" fmla="*/ 0 w 6876064"/>
              <a:gd name="connsiteY0" fmla="*/ 0 h 2864709"/>
              <a:gd name="connsiteX1" fmla="*/ 6740165 w 6876064"/>
              <a:gd name="connsiteY1" fmla="*/ 0 h 2864709"/>
              <a:gd name="connsiteX2" fmla="*/ 4293031 w 6876064"/>
              <a:gd name="connsiteY2" fmla="*/ 1991531 h 2864709"/>
              <a:gd name="connsiteX3" fmla="*/ 2249891 w 6876064"/>
              <a:gd name="connsiteY3" fmla="*/ 2864709 h 2864709"/>
              <a:gd name="connsiteX4" fmla="*/ 0 w 6876064"/>
              <a:gd name="connsiteY4" fmla="*/ 1508289 h 2864709"/>
              <a:gd name="connsiteX5" fmla="*/ 0 w 6876064"/>
              <a:gd name="connsiteY5" fmla="*/ 0 h 2864709"/>
              <a:gd name="connsiteX0" fmla="*/ 0 w 6876064"/>
              <a:gd name="connsiteY0" fmla="*/ 0 h 2864972"/>
              <a:gd name="connsiteX1" fmla="*/ 6740165 w 6876064"/>
              <a:gd name="connsiteY1" fmla="*/ 0 h 2864972"/>
              <a:gd name="connsiteX2" fmla="*/ 4293031 w 6876064"/>
              <a:gd name="connsiteY2" fmla="*/ 1991531 h 2864972"/>
              <a:gd name="connsiteX3" fmla="*/ 2249891 w 6876064"/>
              <a:gd name="connsiteY3" fmla="*/ 2864709 h 2864972"/>
              <a:gd name="connsiteX4" fmla="*/ 0 w 6876064"/>
              <a:gd name="connsiteY4" fmla="*/ 1508289 h 2864972"/>
              <a:gd name="connsiteX5" fmla="*/ 0 w 6876064"/>
              <a:gd name="connsiteY5" fmla="*/ 0 h 2864972"/>
              <a:gd name="connsiteX0" fmla="*/ 0 w 6740165"/>
              <a:gd name="connsiteY0" fmla="*/ 0 h 2864972"/>
              <a:gd name="connsiteX1" fmla="*/ 6740165 w 6740165"/>
              <a:gd name="connsiteY1" fmla="*/ 0 h 2864972"/>
              <a:gd name="connsiteX2" fmla="*/ 4293031 w 6740165"/>
              <a:gd name="connsiteY2" fmla="*/ 1991531 h 2864972"/>
              <a:gd name="connsiteX3" fmla="*/ 2249891 w 6740165"/>
              <a:gd name="connsiteY3" fmla="*/ 2864709 h 2864972"/>
              <a:gd name="connsiteX4" fmla="*/ 0 w 6740165"/>
              <a:gd name="connsiteY4" fmla="*/ 1508289 h 2864972"/>
              <a:gd name="connsiteX5" fmla="*/ 0 w 6740165"/>
              <a:gd name="connsiteY5" fmla="*/ 0 h 2864972"/>
              <a:gd name="connsiteX0" fmla="*/ 0 w 6740165"/>
              <a:gd name="connsiteY0" fmla="*/ 0 h 2864972"/>
              <a:gd name="connsiteX1" fmla="*/ 6740165 w 6740165"/>
              <a:gd name="connsiteY1" fmla="*/ 0 h 2864972"/>
              <a:gd name="connsiteX2" fmla="*/ 4293031 w 6740165"/>
              <a:gd name="connsiteY2" fmla="*/ 1991531 h 2864972"/>
              <a:gd name="connsiteX3" fmla="*/ 2249891 w 6740165"/>
              <a:gd name="connsiteY3" fmla="*/ 2864709 h 2864972"/>
              <a:gd name="connsiteX4" fmla="*/ 0 w 6740165"/>
              <a:gd name="connsiteY4" fmla="*/ 1508289 h 2864972"/>
              <a:gd name="connsiteX5" fmla="*/ 0 w 6740165"/>
              <a:gd name="connsiteY5" fmla="*/ 0 h 2864972"/>
              <a:gd name="connsiteX0" fmla="*/ 0 w 6740165"/>
              <a:gd name="connsiteY0" fmla="*/ 0 h 2864709"/>
              <a:gd name="connsiteX1" fmla="*/ 6740165 w 6740165"/>
              <a:gd name="connsiteY1" fmla="*/ 0 h 2864709"/>
              <a:gd name="connsiteX2" fmla="*/ 4293031 w 6740165"/>
              <a:gd name="connsiteY2" fmla="*/ 1991531 h 2864709"/>
              <a:gd name="connsiteX3" fmla="*/ 2249891 w 6740165"/>
              <a:gd name="connsiteY3" fmla="*/ 2864709 h 2864709"/>
              <a:gd name="connsiteX4" fmla="*/ 0 w 6740165"/>
              <a:gd name="connsiteY4" fmla="*/ 1508289 h 2864709"/>
              <a:gd name="connsiteX5" fmla="*/ 0 w 6740165"/>
              <a:gd name="connsiteY5" fmla="*/ 0 h 2864709"/>
              <a:gd name="connsiteX0" fmla="*/ 0 w 6740165"/>
              <a:gd name="connsiteY0" fmla="*/ 0 h 2879147"/>
              <a:gd name="connsiteX1" fmla="*/ 6740165 w 6740165"/>
              <a:gd name="connsiteY1" fmla="*/ 0 h 2879147"/>
              <a:gd name="connsiteX2" fmla="*/ 4293031 w 6740165"/>
              <a:gd name="connsiteY2" fmla="*/ 1991531 h 2879147"/>
              <a:gd name="connsiteX3" fmla="*/ 2273954 w 6740165"/>
              <a:gd name="connsiteY3" fmla="*/ 2879147 h 2879147"/>
              <a:gd name="connsiteX4" fmla="*/ 0 w 6740165"/>
              <a:gd name="connsiteY4" fmla="*/ 1508289 h 2879147"/>
              <a:gd name="connsiteX5" fmla="*/ 0 w 6740165"/>
              <a:gd name="connsiteY5" fmla="*/ 0 h 2879147"/>
              <a:gd name="connsiteX0" fmla="*/ 9626 w 6749791"/>
              <a:gd name="connsiteY0" fmla="*/ 0 h 2879147"/>
              <a:gd name="connsiteX1" fmla="*/ 6749791 w 6749791"/>
              <a:gd name="connsiteY1" fmla="*/ 0 h 2879147"/>
              <a:gd name="connsiteX2" fmla="*/ 4302657 w 6749791"/>
              <a:gd name="connsiteY2" fmla="*/ 1991531 h 2879147"/>
              <a:gd name="connsiteX3" fmla="*/ 2283580 w 6749791"/>
              <a:gd name="connsiteY3" fmla="*/ 2879147 h 2879147"/>
              <a:gd name="connsiteX4" fmla="*/ 0 w 6749791"/>
              <a:gd name="connsiteY4" fmla="*/ 1493851 h 2879147"/>
              <a:gd name="connsiteX5" fmla="*/ 9626 w 6749791"/>
              <a:gd name="connsiteY5" fmla="*/ 0 h 2879147"/>
              <a:gd name="connsiteX0" fmla="*/ 9626 w 6749791"/>
              <a:gd name="connsiteY0" fmla="*/ 0 h 2879147"/>
              <a:gd name="connsiteX1" fmla="*/ 6749791 w 6749791"/>
              <a:gd name="connsiteY1" fmla="*/ 0 h 2879147"/>
              <a:gd name="connsiteX2" fmla="*/ 4302657 w 6749791"/>
              <a:gd name="connsiteY2" fmla="*/ 1991531 h 2879147"/>
              <a:gd name="connsiteX3" fmla="*/ 2283580 w 6749791"/>
              <a:gd name="connsiteY3" fmla="*/ 2879147 h 2879147"/>
              <a:gd name="connsiteX4" fmla="*/ 0 w 6749791"/>
              <a:gd name="connsiteY4" fmla="*/ 1493851 h 2879147"/>
              <a:gd name="connsiteX5" fmla="*/ 9626 w 6749791"/>
              <a:gd name="connsiteY5" fmla="*/ 0 h 28791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749791" h="2879147">
                <a:moveTo>
                  <a:pt x="9626" y="0"/>
                </a:moveTo>
                <a:lnTo>
                  <a:pt x="6749791" y="0"/>
                </a:lnTo>
                <a:cubicBezTo>
                  <a:pt x="6300340" y="845948"/>
                  <a:pt x="4863509" y="1624286"/>
                  <a:pt x="4302657" y="1991531"/>
                </a:cubicBezTo>
                <a:cubicBezTo>
                  <a:pt x="3625311" y="2379867"/>
                  <a:pt x="3051561" y="2878090"/>
                  <a:pt x="2283580" y="2879147"/>
                </a:cubicBezTo>
                <a:cubicBezTo>
                  <a:pt x="1660264" y="2874485"/>
                  <a:pt x="875618" y="2582862"/>
                  <a:pt x="0" y="1493851"/>
                </a:cubicBezTo>
                <a:cubicBezTo>
                  <a:pt x="3209" y="995901"/>
                  <a:pt x="6417" y="497950"/>
                  <a:pt x="9626" y="0"/>
                </a:cubicBezTo>
                <a:close/>
              </a:path>
            </a:pathLst>
          </a:custGeom>
          <a:gradFill>
            <a:gsLst>
              <a:gs pos="0">
                <a:schemeClr val="accent2"/>
              </a:gs>
              <a:gs pos="100000">
                <a:schemeClr val="accent1"/>
              </a:gs>
            </a:gsLst>
            <a:lin ang="0" scaled="0"/>
          </a:gra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516078324"/>
      </p:ext>
    </p:extLst>
  </p:cSld>
  <p:clrMapOvr>
    <a:overrideClrMapping bg1="lt1" tx1="dk1" bg2="lt2" tx2="dk2" accent1="accent1" accent2="accent2" accent3="accent3" accent4="accent4" accent5="accent5" accent6="accent6" hlink="hlink" folHlink="folHlink"/>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Subtitle + text box and Content">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9DCCCB4F-5526-4B0C-8A53-236A2C99288D}"/>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9" imgH="360" progId="TCLayout.ActiveDocument.1">
                  <p:embed/>
                </p:oleObj>
              </mc:Choice>
              <mc:Fallback>
                <p:oleObj name="think-cell Slide" r:id="rId4" imgW="359" imgH="360" progId="TCLayout.ActiveDocument.1">
                  <p:embed/>
                  <p:pic>
                    <p:nvPicPr>
                      <p:cNvPr id="11" name="Object 10" hidden="1">
                        <a:extLst>
                          <a:ext uri="{FF2B5EF4-FFF2-40B4-BE49-F238E27FC236}">
                            <a16:creationId xmlns:a16="http://schemas.microsoft.com/office/drawing/2014/main" id="{9DCCCB4F-5526-4B0C-8A53-236A2C99288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Rectangle 9" hidden="1">
            <a:extLst>
              <a:ext uri="{FF2B5EF4-FFF2-40B4-BE49-F238E27FC236}">
                <a16:creationId xmlns:a16="http://schemas.microsoft.com/office/drawing/2014/main" id="{F836A69C-1F81-42EA-9593-FAAAC058F9F5}"/>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800" b="1" i="0" baseline="0" dirty="0">
              <a:latin typeface="Century Gothic" panose="020B0502020202020204" pitchFamily="34" charset="0"/>
              <a:ea typeface="+mj-ea"/>
              <a:cs typeface="+mj-cs"/>
              <a:sym typeface="Century Gothic" panose="020B0502020202020204" pitchFamily="34" charset="0"/>
            </a:endParaRPr>
          </a:p>
        </p:txBody>
      </p:sp>
      <p:sp>
        <p:nvSpPr>
          <p:cNvPr id="6" name="Content Placeholder 5">
            <a:extLst>
              <a:ext uri="{FF2B5EF4-FFF2-40B4-BE49-F238E27FC236}">
                <a16:creationId xmlns:a16="http://schemas.microsoft.com/office/drawing/2014/main" id="{CA961BE3-EDC3-48D8-B182-C5D83D4DB2AD}"/>
              </a:ext>
            </a:extLst>
          </p:cNvPr>
          <p:cNvSpPr>
            <a:spLocks noGrp="1"/>
          </p:cNvSpPr>
          <p:nvPr>
            <p:ph sz="quarter" idx="4"/>
          </p:nvPr>
        </p:nvSpPr>
        <p:spPr>
          <a:xfrm>
            <a:off x="5936212" y="1584000"/>
            <a:ext cx="4752000" cy="38664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2" name="Date Placeholder 11">
            <a:extLst>
              <a:ext uri="{FF2B5EF4-FFF2-40B4-BE49-F238E27FC236}">
                <a16:creationId xmlns:a16="http://schemas.microsoft.com/office/drawing/2014/main" id="{0E94148F-73B7-4282-BF84-2601C2C201A8}"/>
              </a:ext>
            </a:extLst>
          </p:cNvPr>
          <p:cNvSpPr>
            <a:spLocks noGrp="1"/>
          </p:cNvSpPr>
          <p:nvPr>
            <p:ph type="dt" sz="half" idx="10"/>
          </p:nvPr>
        </p:nvSpPr>
        <p:spPr/>
        <p:txBody>
          <a:bodyPr/>
          <a:lstStyle/>
          <a:p>
            <a:fld id="{9945821B-6FE0-49BD-AA48-0EAF9546A5B4}" type="datetime1">
              <a:rPr lang="en-US" smtClean="0"/>
              <a:t>10/19/2023</a:t>
            </a:fld>
            <a:endParaRPr lang="en-GB" dirty="0"/>
          </a:p>
        </p:txBody>
      </p:sp>
      <p:sp>
        <p:nvSpPr>
          <p:cNvPr id="13" name="Footer Placeholder 12">
            <a:extLst>
              <a:ext uri="{FF2B5EF4-FFF2-40B4-BE49-F238E27FC236}">
                <a16:creationId xmlns:a16="http://schemas.microsoft.com/office/drawing/2014/main" id="{1D9C6FF8-9E45-45B3-A2DA-0D08A89D44D3}"/>
              </a:ext>
            </a:extLst>
          </p:cNvPr>
          <p:cNvSpPr>
            <a:spLocks noGrp="1"/>
          </p:cNvSpPr>
          <p:nvPr>
            <p:ph type="ftr" sz="quarter" idx="11"/>
          </p:nvPr>
        </p:nvSpPr>
        <p:spPr/>
        <p:txBody>
          <a:bodyPr/>
          <a:lstStyle/>
          <a:p>
            <a:endParaRPr lang="en-GB" dirty="0"/>
          </a:p>
        </p:txBody>
      </p:sp>
      <p:sp>
        <p:nvSpPr>
          <p:cNvPr id="14" name="Slide Number Placeholder 13">
            <a:extLst>
              <a:ext uri="{FF2B5EF4-FFF2-40B4-BE49-F238E27FC236}">
                <a16:creationId xmlns:a16="http://schemas.microsoft.com/office/drawing/2014/main" id="{03285A75-52C2-49D0-AD32-EB63EB47417B}"/>
              </a:ext>
            </a:extLst>
          </p:cNvPr>
          <p:cNvSpPr>
            <a:spLocks noGrp="1"/>
          </p:cNvSpPr>
          <p:nvPr>
            <p:ph type="sldNum" sz="quarter" idx="12"/>
          </p:nvPr>
        </p:nvSpPr>
        <p:spPr/>
        <p:txBody>
          <a:bodyPr/>
          <a:lstStyle/>
          <a:p>
            <a:fld id="{55E5625F-1FD2-1C4F-96E4-1B7E00555D74}" type="slidenum">
              <a:rPr lang="nl-BE" smtClean="0"/>
              <a:pPr/>
              <a:t>‹#›</a:t>
            </a:fld>
            <a:endParaRPr lang="nl-BE" dirty="0"/>
          </a:p>
        </p:txBody>
      </p:sp>
      <p:sp>
        <p:nvSpPr>
          <p:cNvPr id="15" name="Title 14">
            <a:extLst>
              <a:ext uri="{FF2B5EF4-FFF2-40B4-BE49-F238E27FC236}">
                <a16:creationId xmlns:a16="http://schemas.microsoft.com/office/drawing/2014/main" id="{BE540A72-109C-4190-82A6-B47229E30981}"/>
              </a:ext>
            </a:extLst>
          </p:cNvPr>
          <p:cNvSpPr>
            <a:spLocks noGrp="1"/>
          </p:cNvSpPr>
          <p:nvPr>
            <p:ph type="title"/>
          </p:nvPr>
        </p:nvSpPr>
        <p:spPr/>
        <p:txBody>
          <a:bodyPr lIns="0">
            <a:noAutofit/>
          </a:bodyPr>
          <a:lstStyle>
            <a:lvl1pPr marL="0" indent="0">
              <a:defRPr sz="2000"/>
            </a:lvl1pPr>
          </a:lstStyle>
          <a:p>
            <a:r>
              <a:rPr lang="en-US"/>
              <a:t>Click to edit Master title style</a:t>
            </a:r>
            <a:endParaRPr lang="en-GB" dirty="0"/>
          </a:p>
        </p:txBody>
      </p:sp>
      <p:sp>
        <p:nvSpPr>
          <p:cNvPr id="7" name="Text Placeholder 6">
            <a:extLst>
              <a:ext uri="{FF2B5EF4-FFF2-40B4-BE49-F238E27FC236}">
                <a16:creationId xmlns:a16="http://schemas.microsoft.com/office/drawing/2014/main" id="{2777C850-B573-4FB9-9DF0-0CD40ACABF6D}"/>
              </a:ext>
            </a:extLst>
          </p:cNvPr>
          <p:cNvSpPr>
            <a:spLocks noGrp="1"/>
          </p:cNvSpPr>
          <p:nvPr>
            <p:ph type="body" sz="quarter" idx="13"/>
          </p:nvPr>
        </p:nvSpPr>
        <p:spPr>
          <a:xfrm>
            <a:off x="838200" y="1584000"/>
            <a:ext cx="4751388" cy="3865563"/>
          </a:xfrm>
        </p:spPr>
        <p:txBody>
          <a:bodyPr/>
          <a:lstStyle>
            <a:lvl1pPr marL="0" indent="0">
              <a:buFontTx/>
              <a:buNone/>
              <a:defRPr/>
            </a:lvl1pPr>
          </a:lstStyle>
          <a:p>
            <a:pPr lvl="0"/>
            <a:r>
              <a:rPr lang="en-US"/>
              <a:t>Click to edit Master text styles</a:t>
            </a:r>
          </a:p>
        </p:txBody>
      </p:sp>
    </p:spTree>
    <p:extLst>
      <p:ext uri="{BB962C8B-B14F-4D97-AF65-F5344CB8AC3E}">
        <p14:creationId xmlns:p14="http://schemas.microsoft.com/office/powerpoint/2010/main" val="2857461573"/>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type="blank">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928917512"/>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userDrawn="1">
  <p:cSld name="End chart - questions">
    <p:bg>
      <p:bgRef idx="1001">
        <a:schemeClr val="bg1"/>
      </p:bgRef>
    </p:bg>
    <p:spTree>
      <p:nvGrpSpPr>
        <p:cNvPr id="1" name=""/>
        <p:cNvGrpSpPr/>
        <p:nvPr/>
      </p:nvGrpSpPr>
      <p:grpSpPr>
        <a:xfrm>
          <a:off x="0" y="0"/>
          <a:ext cx="0" cy="0"/>
          <a:chOff x="0" y="0"/>
          <a:chExt cx="0" cy="0"/>
        </a:xfrm>
      </p:grpSpPr>
      <p:sp>
        <p:nvSpPr>
          <p:cNvPr id="11" name="Vrije vorm 10">
            <a:extLst>
              <a:ext uri="{FF2B5EF4-FFF2-40B4-BE49-F238E27FC236}">
                <a16:creationId xmlns:a16="http://schemas.microsoft.com/office/drawing/2014/main" id="{F7F34D5C-E3AF-3049-835C-986746842B02}"/>
              </a:ext>
            </a:extLst>
          </p:cNvPr>
          <p:cNvSpPr/>
          <p:nvPr userDrawn="1"/>
        </p:nvSpPr>
        <p:spPr>
          <a:xfrm>
            <a:off x="7174992" y="0"/>
            <a:ext cx="5017008" cy="6868405"/>
          </a:xfrm>
          <a:custGeom>
            <a:avLst/>
            <a:gdLst>
              <a:gd name="connsiteX0" fmla="*/ 1829745 w 5017008"/>
              <a:gd name="connsiteY0" fmla="*/ 0 h 6868405"/>
              <a:gd name="connsiteX1" fmla="*/ 5017008 w 5017008"/>
              <a:gd name="connsiteY1" fmla="*/ 0 h 6868405"/>
              <a:gd name="connsiteX2" fmla="*/ 5017008 w 5017008"/>
              <a:gd name="connsiteY2" fmla="*/ 6868405 h 6868405"/>
              <a:gd name="connsiteX3" fmla="*/ 4918260 w 5017008"/>
              <a:gd name="connsiteY3" fmla="*/ 6863517 h 6868405"/>
              <a:gd name="connsiteX4" fmla="*/ 105937 w 5017008"/>
              <a:gd name="connsiteY4" fmla="*/ 5012134 h 6868405"/>
              <a:gd name="connsiteX5" fmla="*/ 1829745 w 5017008"/>
              <a:gd name="connsiteY5" fmla="*/ 0 h 68684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017008" h="6868405">
                <a:moveTo>
                  <a:pt x="1829745" y="0"/>
                </a:moveTo>
                <a:lnTo>
                  <a:pt x="5017008" y="0"/>
                </a:lnTo>
                <a:lnTo>
                  <a:pt x="5017008" y="6868405"/>
                </a:lnTo>
                <a:lnTo>
                  <a:pt x="4918260" y="6863517"/>
                </a:lnTo>
                <a:cubicBezTo>
                  <a:pt x="2956062" y="6744753"/>
                  <a:pt x="715780" y="6314295"/>
                  <a:pt x="105937" y="5012134"/>
                </a:cubicBezTo>
                <a:cubicBezTo>
                  <a:pt x="-222918" y="4177094"/>
                  <a:pt x="176738" y="1692705"/>
                  <a:pt x="1829745" y="0"/>
                </a:cubicBezTo>
                <a:close/>
              </a:path>
            </a:pathLst>
          </a:custGeom>
          <a:gradFill>
            <a:gsLst>
              <a:gs pos="100000">
                <a:schemeClr val="accent1"/>
              </a:gs>
              <a:gs pos="0">
                <a:schemeClr val="accent2"/>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graphicFrame>
        <p:nvGraphicFramePr>
          <p:cNvPr id="6" name="Object 5" hidden="1">
            <a:extLst>
              <a:ext uri="{FF2B5EF4-FFF2-40B4-BE49-F238E27FC236}">
                <a16:creationId xmlns:a16="http://schemas.microsoft.com/office/drawing/2014/main" id="{2117E9B6-5C5B-4BE3-B090-A8A0F5898E59}"/>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9" imgH="360" progId="TCLayout.ActiveDocument.1">
                  <p:embed/>
                </p:oleObj>
              </mc:Choice>
              <mc:Fallback>
                <p:oleObj name="think-cell Slide" r:id="rId4" imgW="359" imgH="360" progId="TCLayout.ActiveDocument.1">
                  <p:embed/>
                  <p:pic>
                    <p:nvPicPr>
                      <p:cNvPr id="6" name="Object 5" hidden="1">
                        <a:extLst>
                          <a:ext uri="{FF2B5EF4-FFF2-40B4-BE49-F238E27FC236}">
                            <a16:creationId xmlns:a16="http://schemas.microsoft.com/office/drawing/2014/main" id="{2117E9B6-5C5B-4BE3-B090-A8A0F5898E5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8860CB07-81DF-4BE6-94EE-F3368CC3EC68}"/>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800" b="1" i="0" baseline="0" dirty="0">
              <a:latin typeface="Century Gothic" panose="020B0502020202020204" pitchFamily="34" charset="0"/>
              <a:ea typeface="+mj-ea"/>
              <a:cs typeface="+mj-cs"/>
              <a:sym typeface="Century Gothic" panose="020B0502020202020204" pitchFamily="34" charset="0"/>
            </a:endParaRPr>
          </a:p>
        </p:txBody>
      </p:sp>
      <p:sp>
        <p:nvSpPr>
          <p:cNvPr id="8" name="Title 7">
            <a:extLst>
              <a:ext uri="{FF2B5EF4-FFF2-40B4-BE49-F238E27FC236}">
                <a16:creationId xmlns:a16="http://schemas.microsoft.com/office/drawing/2014/main" id="{5A1BFBE4-61FF-40EB-9C4E-26BDEA879D4F}"/>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1596160647"/>
      </p:ext>
    </p:extLst>
  </p:cSld>
  <p:clrMapOvr>
    <a:overrideClrMapping bg1="lt1" tx1="dk1" bg2="lt2" tx2="dk2" accent1="accent1" accent2="accent2" accent3="accent3" accent4="accent4" accent5="accent5" accent6="accent6" hlink="hlink" folHlink="folHlink"/>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Section Header with Image">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F9087E09-D75F-4E26-B01E-A1A09BA2EA70}"/>
              </a:ext>
            </a:extLst>
          </p:cNvPr>
          <p:cNvSpPr/>
          <p:nvPr userDrawn="1"/>
        </p:nvSpPr>
        <p:spPr>
          <a:xfrm>
            <a:off x="0" y="0"/>
            <a:ext cx="12192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noProof="0"/>
          </a:p>
        </p:txBody>
      </p:sp>
      <p:sp>
        <p:nvSpPr>
          <p:cNvPr id="2" name="Title 1">
            <a:extLst>
              <a:ext uri="{FF2B5EF4-FFF2-40B4-BE49-F238E27FC236}">
                <a16:creationId xmlns:a16="http://schemas.microsoft.com/office/drawing/2014/main" id="{AF7A70B7-7ADE-4E0B-B956-363B0B1AA613}"/>
              </a:ext>
            </a:extLst>
          </p:cNvPr>
          <p:cNvSpPr>
            <a:spLocks noGrp="1"/>
          </p:cNvSpPr>
          <p:nvPr>
            <p:ph type="title"/>
          </p:nvPr>
        </p:nvSpPr>
        <p:spPr>
          <a:xfrm>
            <a:off x="831850" y="182563"/>
            <a:ext cx="10515600" cy="940181"/>
          </a:xfrm>
        </p:spPr>
        <p:txBody>
          <a:bodyPr rtlCol="0" anchor="b">
            <a:noAutofit/>
          </a:bodyPr>
          <a:lstStyle>
            <a:lvl1pPr algn="ctr">
              <a:defRPr sz="4000" b="1" cap="all" baseline="0">
                <a:solidFill>
                  <a:schemeClr val="bg1"/>
                </a:solidFill>
              </a:defRPr>
            </a:lvl1pPr>
          </a:lstStyle>
          <a:p>
            <a:pPr rtl="0"/>
            <a:r>
              <a:rPr lang="en-US" noProof="0"/>
              <a:t>Click to edit Master title style</a:t>
            </a:r>
            <a:endParaRPr lang="en-GB" noProof="0"/>
          </a:p>
        </p:txBody>
      </p:sp>
      <p:sp>
        <p:nvSpPr>
          <p:cNvPr id="3" name="Text Placeholder 2">
            <a:extLst>
              <a:ext uri="{FF2B5EF4-FFF2-40B4-BE49-F238E27FC236}">
                <a16:creationId xmlns:a16="http://schemas.microsoft.com/office/drawing/2014/main" id="{4ACB5603-8A62-4D45-B6EF-0D7E2D5FC4F7}"/>
              </a:ext>
            </a:extLst>
          </p:cNvPr>
          <p:cNvSpPr>
            <a:spLocks noGrp="1"/>
          </p:cNvSpPr>
          <p:nvPr>
            <p:ph type="body" idx="1" hasCustomPrompt="1"/>
          </p:nvPr>
        </p:nvSpPr>
        <p:spPr>
          <a:xfrm>
            <a:off x="2139388" y="1154832"/>
            <a:ext cx="7900525" cy="764460"/>
          </a:xfrm>
        </p:spPr>
        <p:txBody>
          <a:bodyPr rtlCol="0">
            <a:noAutofit/>
          </a:bodyPr>
          <a:lstStyle>
            <a:lvl1pPr marL="0" indent="0" algn="ctr">
              <a:buNone/>
              <a:defRPr sz="1800" cap="none" baseline="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rtl="0"/>
            <a:r>
              <a:rPr lang="en-GB" noProof="0"/>
              <a:t>Dummy text comes here</a:t>
            </a:r>
          </a:p>
        </p:txBody>
      </p:sp>
      <p:pic>
        <p:nvPicPr>
          <p:cNvPr id="8" name="Picture 7">
            <a:extLst>
              <a:ext uri="{FF2B5EF4-FFF2-40B4-BE49-F238E27FC236}">
                <a16:creationId xmlns:a16="http://schemas.microsoft.com/office/drawing/2014/main" id="{25FC40B0-ED27-47E5-A3C2-32A8418567EE}"/>
              </a:ext>
            </a:extLst>
          </p:cNvPr>
          <p:cNvPicPr>
            <a:picLocks noChangeAspect="1"/>
          </p:cNvPicPr>
          <p:nvPr userDrawn="1"/>
        </p:nvPicPr>
        <p:blipFill>
          <a:blip r:embed="rId2">
            <a:biLevel thresh="25000"/>
            <a:extLst>
              <a:ext uri="{28A0092B-C50C-407E-A947-70E740481C1C}">
                <a14:useLocalDpi xmlns:a14="http://schemas.microsoft.com/office/drawing/2010/main"/>
              </a:ext>
            </a:extLst>
          </a:blip>
          <a:stretch>
            <a:fillRect/>
          </a:stretch>
        </p:blipFill>
        <p:spPr>
          <a:xfrm>
            <a:off x="469638" y="6260507"/>
            <a:ext cx="1075427" cy="414929"/>
          </a:xfrm>
          <a:prstGeom prst="rect">
            <a:avLst/>
          </a:prstGeom>
        </p:spPr>
      </p:pic>
      <p:sp>
        <p:nvSpPr>
          <p:cNvPr id="11" name="Oval 10">
            <a:extLst>
              <a:ext uri="{FF2B5EF4-FFF2-40B4-BE49-F238E27FC236}">
                <a16:creationId xmlns:a16="http://schemas.microsoft.com/office/drawing/2014/main" id="{8931D2A9-0B92-4197-8802-80424C14EA7E}"/>
              </a:ext>
            </a:extLst>
          </p:cNvPr>
          <p:cNvSpPr/>
          <p:nvPr userDrawn="1"/>
        </p:nvSpPr>
        <p:spPr>
          <a:xfrm>
            <a:off x="11371669" y="6409397"/>
            <a:ext cx="280051" cy="280051"/>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noProof="0"/>
          </a:p>
        </p:txBody>
      </p:sp>
      <p:sp>
        <p:nvSpPr>
          <p:cNvPr id="6" name="Slide Number Placeholder 5">
            <a:extLst>
              <a:ext uri="{FF2B5EF4-FFF2-40B4-BE49-F238E27FC236}">
                <a16:creationId xmlns:a16="http://schemas.microsoft.com/office/drawing/2014/main" id="{533B74B0-30B9-45C2-9AE6-45D1978AAFAE}"/>
              </a:ext>
            </a:extLst>
          </p:cNvPr>
          <p:cNvSpPr>
            <a:spLocks noGrp="1"/>
          </p:cNvSpPr>
          <p:nvPr>
            <p:ph type="sldNum" sz="quarter" idx="12"/>
          </p:nvPr>
        </p:nvSpPr>
        <p:spPr>
          <a:xfrm>
            <a:off x="11363696" y="6455739"/>
            <a:ext cx="294460" cy="187367"/>
          </a:xfrm>
        </p:spPr>
        <p:txBody>
          <a:bodyPr lIns="0" tIns="0" rIns="0" bIns="0" rtlCol="0"/>
          <a:lstStyle>
            <a:lvl1pPr algn="ctr">
              <a:defRPr sz="900">
                <a:solidFill>
                  <a:srgbClr val="2C567A"/>
                </a:solidFill>
                <a:latin typeface="+mn-lt"/>
              </a:defRPr>
            </a:lvl1pPr>
          </a:lstStyle>
          <a:p>
            <a:pPr rtl="0"/>
            <a:fld id="{9EC71654-96A5-4280-94F3-931C61A9F92C}" type="slidenum">
              <a:rPr lang="en-GB" noProof="0" smtClean="0"/>
              <a:pPr/>
              <a:t>‹#›</a:t>
            </a:fld>
            <a:endParaRPr lang="en-GB" noProof="0"/>
          </a:p>
        </p:txBody>
      </p:sp>
      <p:sp>
        <p:nvSpPr>
          <p:cNvPr id="15" name="Picture Placeholder 14">
            <a:extLst>
              <a:ext uri="{FF2B5EF4-FFF2-40B4-BE49-F238E27FC236}">
                <a16:creationId xmlns:a16="http://schemas.microsoft.com/office/drawing/2014/main" id="{B5A30B6B-EEDB-4142-8138-D50F5A307D76}"/>
              </a:ext>
            </a:extLst>
          </p:cNvPr>
          <p:cNvSpPr>
            <a:spLocks noGrp="1"/>
          </p:cNvSpPr>
          <p:nvPr>
            <p:ph type="pic" sz="quarter" idx="13"/>
          </p:nvPr>
        </p:nvSpPr>
        <p:spPr>
          <a:xfrm>
            <a:off x="2993041" y="2270376"/>
            <a:ext cx="6206400" cy="4587625"/>
          </a:xfrm>
          <a:custGeom>
            <a:avLst/>
            <a:gdLst>
              <a:gd name="connsiteX0" fmla="*/ 3103200 w 6206400"/>
              <a:gd name="connsiteY0" fmla="*/ 0 h 4587625"/>
              <a:gd name="connsiteX1" fmla="*/ 6206400 w 6206400"/>
              <a:gd name="connsiteY1" fmla="*/ 3103200 h 4587625"/>
              <a:gd name="connsiteX2" fmla="*/ 5831861 w 6206400"/>
              <a:gd name="connsiteY2" fmla="*/ 4582370 h 4587625"/>
              <a:gd name="connsiteX3" fmla="*/ 5828668 w 6206400"/>
              <a:gd name="connsiteY3" fmla="*/ 4587625 h 4587625"/>
              <a:gd name="connsiteX4" fmla="*/ 377733 w 6206400"/>
              <a:gd name="connsiteY4" fmla="*/ 4587625 h 4587625"/>
              <a:gd name="connsiteX5" fmla="*/ 374540 w 6206400"/>
              <a:gd name="connsiteY5" fmla="*/ 4582370 h 4587625"/>
              <a:gd name="connsiteX6" fmla="*/ 0 w 6206400"/>
              <a:gd name="connsiteY6" fmla="*/ 3103200 h 4587625"/>
              <a:gd name="connsiteX7" fmla="*/ 3103200 w 6206400"/>
              <a:gd name="connsiteY7" fmla="*/ 0 h 458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206400" h="4587625">
                <a:moveTo>
                  <a:pt x="3103200" y="0"/>
                </a:moveTo>
                <a:cubicBezTo>
                  <a:pt x="4817050" y="0"/>
                  <a:pt x="6206400" y="1389350"/>
                  <a:pt x="6206400" y="3103200"/>
                </a:cubicBezTo>
                <a:cubicBezTo>
                  <a:pt x="6206400" y="3638778"/>
                  <a:pt x="6070721" y="4142667"/>
                  <a:pt x="5831861" y="4582370"/>
                </a:cubicBezTo>
                <a:lnTo>
                  <a:pt x="5828668" y="4587625"/>
                </a:lnTo>
                <a:lnTo>
                  <a:pt x="377733" y="4587625"/>
                </a:lnTo>
                <a:lnTo>
                  <a:pt x="374540" y="4582370"/>
                </a:lnTo>
                <a:cubicBezTo>
                  <a:pt x="135679" y="4142667"/>
                  <a:pt x="0" y="3638778"/>
                  <a:pt x="0" y="3103200"/>
                </a:cubicBezTo>
                <a:cubicBezTo>
                  <a:pt x="0" y="1389350"/>
                  <a:pt x="1389350" y="0"/>
                  <a:pt x="3103200" y="0"/>
                </a:cubicBezTo>
                <a:close/>
              </a:path>
            </a:pathLst>
          </a:custGeom>
          <a:solidFill>
            <a:schemeClr val="bg2"/>
          </a:solidFill>
        </p:spPr>
        <p:txBody>
          <a:bodyPr wrap="square" rtlCol="0" anchor="ctr">
            <a:noAutofit/>
          </a:bodyPr>
          <a:lstStyle>
            <a:lvl1pPr marL="0" indent="0" algn="ctr">
              <a:buNone/>
              <a:defRPr sz="2400"/>
            </a:lvl1pPr>
          </a:lstStyle>
          <a:p>
            <a:pPr rtl="0"/>
            <a:r>
              <a:rPr lang="en-US" noProof="0"/>
              <a:t>Click icon to add picture</a:t>
            </a:r>
            <a:endParaRPr lang="en-GB" noProof="0"/>
          </a:p>
        </p:txBody>
      </p:sp>
    </p:spTree>
    <p:extLst>
      <p:ext uri="{BB962C8B-B14F-4D97-AF65-F5344CB8AC3E}">
        <p14:creationId xmlns:p14="http://schemas.microsoft.com/office/powerpoint/2010/main" val="2750495570"/>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nd content with image">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0FEE9886-36F0-4E06-A3A6-D8F00B0665A1}"/>
              </a:ext>
            </a:extLst>
          </p:cNvPr>
          <p:cNvSpPr>
            <a:spLocks noGrp="1"/>
          </p:cNvSpPr>
          <p:nvPr>
            <p:ph idx="1"/>
          </p:nvPr>
        </p:nvSpPr>
        <p:spPr>
          <a:xfrm>
            <a:off x="538960" y="1825625"/>
            <a:ext cx="4914189" cy="4351338"/>
          </a:xfrm>
        </p:spPr>
        <p:txBody>
          <a:bodyPr lIns="0" tIns="0" rIns="0" bIns="0" rtlCol="0">
            <a:noAutofit/>
          </a:bodyPr>
          <a:lstStyle>
            <a:lvl1pPr>
              <a:defRPr sz="2400"/>
            </a:lvl1pPr>
            <a:lvl2pPr>
              <a:defRPr sz="2000"/>
            </a:lvl2pPr>
            <a:lvl3pPr>
              <a:defRPr sz="1800"/>
            </a:lvl3pPr>
            <a:lvl4pPr>
              <a:defRPr sz="1600"/>
            </a:lvl4pPr>
            <a:lvl5pPr>
              <a:defRPr sz="1600"/>
            </a:lvl5pPr>
          </a:lstStyle>
          <a:p>
            <a:pPr lvl="0" rtl="0"/>
            <a:r>
              <a:rPr lang="en-US" noProof="0"/>
              <a:t>Click to edit Master text styles</a:t>
            </a:r>
          </a:p>
          <a:p>
            <a:pPr lvl="1" rtl="0"/>
            <a:r>
              <a:rPr lang="en-US" noProof="0"/>
              <a:t>Second level</a:t>
            </a:r>
          </a:p>
          <a:p>
            <a:pPr lvl="2" rtl="0"/>
            <a:r>
              <a:rPr lang="en-US" noProof="0"/>
              <a:t>Third level</a:t>
            </a:r>
          </a:p>
          <a:p>
            <a:pPr lvl="3" rtl="0"/>
            <a:r>
              <a:rPr lang="en-US" noProof="0"/>
              <a:t>Fourth level</a:t>
            </a:r>
          </a:p>
          <a:p>
            <a:pPr lvl="4" rtl="0"/>
            <a:r>
              <a:rPr lang="en-US" noProof="0"/>
              <a:t>Fifth level</a:t>
            </a:r>
            <a:endParaRPr lang="en-GB" noProof="0" dirty="0"/>
          </a:p>
        </p:txBody>
      </p:sp>
      <p:sp>
        <p:nvSpPr>
          <p:cNvPr id="7" name="Rectangle 6">
            <a:extLst>
              <a:ext uri="{FF2B5EF4-FFF2-40B4-BE49-F238E27FC236}">
                <a16:creationId xmlns:a16="http://schemas.microsoft.com/office/drawing/2014/main" id="{76627016-BFC4-46D4-89DB-F72E3C3461EC}"/>
              </a:ext>
            </a:extLst>
          </p:cNvPr>
          <p:cNvSpPr/>
          <p:nvPr userDrawn="1"/>
        </p:nvSpPr>
        <p:spPr>
          <a:xfrm rot="10800000">
            <a:off x="515938" y="-16721"/>
            <a:ext cx="1258618" cy="11050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noProof="0" dirty="0">
              <a:solidFill>
                <a:schemeClr val="bg1"/>
              </a:solidFill>
            </a:endParaRPr>
          </a:p>
        </p:txBody>
      </p:sp>
      <p:pic>
        <p:nvPicPr>
          <p:cNvPr id="8" name="Picture 7">
            <a:extLst>
              <a:ext uri="{FF2B5EF4-FFF2-40B4-BE49-F238E27FC236}">
                <a16:creationId xmlns:a16="http://schemas.microsoft.com/office/drawing/2014/main" id="{676C557E-B5A7-4416-BCC0-5743550BF152}"/>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472046" y="6261436"/>
            <a:ext cx="1073019" cy="414000"/>
          </a:xfrm>
          <a:prstGeom prst="rect">
            <a:avLst/>
          </a:prstGeom>
        </p:spPr>
      </p:pic>
      <p:grpSp>
        <p:nvGrpSpPr>
          <p:cNvPr id="10" name="Group 9">
            <a:extLst>
              <a:ext uri="{FF2B5EF4-FFF2-40B4-BE49-F238E27FC236}">
                <a16:creationId xmlns:a16="http://schemas.microsoft.com/office/drawing/2014/main" id="{42E17FB3-B5C4-4B3A-A57B-C6493A9D0C66}"/>
              </a:ext>
            </a:extLst>
          </p:cNvPr>
          <p:cNvGrpSpPr/>
          <p:nvPr userDrawn="1"/>
        </p:nvGrpSpPr>
        <p:grpSpPr>
          <a:xfrm rot="8650774">
            <a:off x="5037655" y="4336093"/>
            <a:ext cx="1905000" cy="2354263"/>
            <a:chOff x="11114088" y="2241550"/>
            <a:chExt cx="1905000" cy="2354263"/>
          </a:xfrm>
          <a:solidFill>
            <a:schemeClr val="bg2"/>
          </a:solidFill>
        </p:grpSpPr>
        <p:sp>
          <p:nvSpPr>
            <p:cNvPr id="11" name="Freeform 5">
              <a:extLst>
                <a:ext uri="{FF2B5EF4-FFF2-40B4-BE49-F238E27FC236}">
                  <a16:creationId xmlns:a16="http://schemas.microsoft.com/office/drawing/2014/main" id="{DCA6C454-F761-4265-BB5E-DFD947CC3592}"/>
                </a:ext>
              </a:extLst>
            </p:cNvPr>
            <p:cNvSpPr>
              <a:spLocks/>
            </p:cNvSpPr>
            <p:nvPr/>
          </p:nvSpPr>
          <p:spPr bwMode="auto">
            <a:xfrm>
              <a:off x="11114088" y="2241550"/>
              <a:ext cx="1905000" cy="2354263"/>
            </a:xfrm>
            <a:custGeom>
              <a:avLst/>
              <a:gdLst>
                <a:gd name="T0" fmla="*/ 0 w 447"/>
                <a:gd name="T1" fmla="*/ 264 h 553"/>
                <a:gd name="T2" fmla="*/ 141 w 447"/>
                <a:gd name="T3" fmla="*/ 48 h 553"/>
                <a:gd name="T4" fmla="*/ 414 w 447"/>
                <a:gd name="T5" fmla="*/ 67 h 553"/>
                <a:gd name="T6" fmla="*/ 438 w 447"/>
                <a:gd name="T7" fmla="*/ 98 h 553"/>
                <a:gd name="T8" fmla="*/ 391 w 447"/>
                <a:gd name="T9" fmla="*/ 111 h 553"/>
                <a:gd name="T10" fmla="*/ 94 w 447"/>
                <a:gd name="T11" fmla="*/ 149 h 553"/>
                <a:gd name="T12" fmla="*/ 107 w 447"/>
                <a:gd name="T13" fmla="*/ 424 h 553"/>
                <a:gd name="T14" fmla="*/ 383 w 447"/>
                <a:gd name="T15" fmla="*/ 453 h 553"/>
                <a:gd name="T16" fmla="*/ 393 w 447"/>
                <a:gd name="T17" fmla="*/ 446 h 553"/>
                <a:gd name="T18" fmla="*/ 433 w 447"/>
                <a:gd name="T19" fmla="*/ 449 h 553"/>
                <a:gd name="T20" fmla="*/ 421 w 447"/>
                <a:gd name="T21" fmla="*/ 485 h 553"/>
                <a:gd name="T22" fmla="*/ 194 w 447"/>
                <a:gd name="T23" fmla="*/ 531 h 553"/>
                <a:gd name="T24" fmla="*/ 0 w 447"/>
                <a:gd name="T25" fmla="*/ 264 h 5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7" h="553">
                  <a:moveTo>
                    <a:pt x="0" y="264"/>
                  </a:moveTo>
                  <a:cubicBezTo>
                    <a:pt x="5" y="176"/>
                    <a:pt x="49" y="96"/>
                    <a:pt x="141" y="48"/>
                  </a:cubicBezTo>
                  <a:cubicBezTo>
                    <a:pt x="235" y="0"/>
                    <a:pt x="327" y="9"/>
                    <a:pt x="414" y="67"/>
                  </a:cubicBezTo>
                  <a:cubicBezTo>
                    <a:pt x="425" y="75"/>
                    <a:pt x="439" y="82"/>
                    <a:pt x="438" y="98"/>
                  </a:cubicBezTo>
                  <a:cubicBezTo>
                    <a:pt x="437" y="120"/>
                    <a:pt x="413" y="127"/>
                    <a:pt x="391" y="111"/>
                  </a:cubicBezTo>
                  <a:cubicBezTo>
                    <a:pt x="294" y="40"/>
                    <a:pt x="166" y="56"/>
                    <a:pt x="94" y="149"/>
                  </a:cubicBezTo>
                  <a:cubicBezTo>
                    <a:pt x="30" y="231"/>
                    <a:pt x="36" y="349"/>
                    <a:pt x="107" y="424"/>
                  </a:cubicBezTo>
                  <a:cubicBezTo>
                    <a:pt x="180" y="502"/>
                    <a:pt x="296" y="514"/>
                    <a:pt x="383" y="453"/>
                  </a:cubicBezTo>
                  <a:cubicBezTo>
                    <a:pt x="386" y="451"/>
                    <a:pt x="390" y="449"/>
                    <a:pt x="393" y="446"/>
                  </a:cubicBezTo>
                  <a:cubicBezTo>
                    <a:pt x="407" y="433"/>
                    <a:pt x="420" y="433"/>
                    <a:pt x="433" y="449"/>
                  </a:cubicBezTo>
                  <a:cubicBezTo>
                    <a:pt x="447" y="467"/>
                    <a:pt x="433" y="477"/>
                    <a:pt x="421" y="485"/>
                  </a:cubicBezTo>
                  <a:cubicBezTo>
                    <a:pt x="353" y="537"/>
                    <a:pt x="277" y="553"/>
                    <a:pt x="194" y="531"/>
                  </a:cubicBezTo>
                  <a:cubicBezTo>
                    <a:pt x="79" y="501"/>
                    <a:pt x="1" y="397"/>
                    <a:pt x="0" y="26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en-GB" noProof="0" dirty="0"/>
            </a:p>
          </p:txBody>
        </p:sp>
        <p:sp>
          <p:nvSpPr>
            <p:cNvPr id="12" name="Freeform 6">
              <a:extLst>
                <a:ext uri="{FF2B5EF4-FFF2-40B4-BE49-F238E27FC236}">
                  <a16:creationId xmlns:a16="http://schemas.microsoft.com/office/drawing/2014/main" id="{6B853B2F-9E1C-4AC4-9344-8610498D5B52}"/>
                </a:ext>
              </a:extLst>
            </p:cNvPr>
            <p:cNvSpPr>
              <a:spLocks/>
            </p:cNvSpPr>
            <p:nvPr/>
          </p:nvSpPr>
          <p:spPr bwMode="auto">
            <a:xfrm>
              <a:off x="11412538" y="2590800"/>
              <a:ext cx="835025" cy="1673225"/>
            </a:xfrm>
            <a:custGeom>
              <a:avLst/>
              <a:gdLst>
                <a:gd name="T0" fmla="*/ 0 w 196"/>
                <a:gd name="T1" fmla="*/ 198 h 393"/>
                <a:gd name="T2" fmla="*/ 157 w 196"/>
                <a:gd name="T3" fmla="*/ 8 h 393"/>
                <a:gd name="T4" fmla="*/ 192 w 196"/>
                <a:gd name="T5" fmla="*/ 22 h 393"/>
                <a:gd name="T6" fmla="*/ 167 w 196"/>
                <a:gd name="T7" fmla="*/ 56 h 393"/>
                <a:gd name="T8" fmla="*/ 48 w 196"/>
                <a:gd name="T9" fmla="*/ 198 h 393"/>
                <a:gd name="T10" fmla="*/ 170 w 196"/>
                <a:gd name="T11" fmla="*/ 339 h 393"/>
                <a:gd name="T12" fmla="*/ 193 w 196"/>
                <a:gd name="T13" fmla="*/ 372 h 393"/>
                <a:gd name="T14" fmla="*/ 160 w 196"/>
                <a:gd name="T15" fmla="*/ 387 h 393"/>
                <a:gd name="T16" fmla="*/ 0 w 196"/>
                <a:gd name="T17" fmla="*/ 198 h 3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6" h="393">
                  <a:moveTo>
                    <a:pt x="0" y="198"/>
                  </a:moveTo>
                  <a:cubicBezTo>
                    <a:pt x="0" y="103"/>
                    <a:pt x="64" y="26"/>
                    <a:pt x="157" y="8"/>
                  </a:cubicBezTo>
                  <a:cubicBezTo>
                    <a:pt x="171" y="6"/>
                    <a:pt x="188" y="0"/>
                    <a:pt x="192" y="22"/>
                  </a:cubicBezTo>
                  <a:cubicBezTo>
                    <a:pt x="196" y="41"/>
                    <a:pt x="190" y="52"/>
                    <a:pt x="167" y="56"/>
                  </a:cubicBezTo>
                  <a:cubicBezTo>
                    <a:pt x="95" y="70"/>
                    <a:pt x="47" y="129"/>
                    <a:pt x="48" y="198"/>
                  </a:cubicBezTo>
                  <a:cubicBezTo>
                    <a:pt x="48" y="267"/>
                    <a:pt x="97" y="325"/>
                    <a:pt x="170" y="339"/>
                  </a:cubicBezTo>
                  <a:cubicBezTo>
                    <a:pt x="191" y="343"/>
                    <a:pt x="195" y="354"/>
                    <a:pt x="193" y="372"/>
                  </a:cubicBezTo>
                  <a:cubicBezTo>
                    <a:pt x="190" y="393"/>
                    <a:pt x="174" y="389"/>
                    <a:pt x="160" y="387"/>
                  </a:cubicBezTo>
                  <a:cubicBezTo>
                    <a:pt x="70" y="375"/>
                    <a:pt x="0" y="293"/>
                    <a:pt x="0" y="19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en-GB" noProof="0" dirty="0"/>
            </a:p>
          </p:txBody>
        </p:sp>
        <p:sp>
          <p:nvSpPr>
            <p:cNvPr id="13" name="Freeform 7">
              <a:extLst>
                <a:ext uri="{FF2B5EF4-FFF2-40B4-BE49-F238E27FC236}">
                  <a16:creationId xmlns:a16="http://schemas.microsoft.com/office/drawing/2014/main" id="{B7FCC84B-2235-4948-8277-8363DFC691A4}"/>
                </a:ext>
              </a:extLst>
            </p:cNvPr>
            <p:cNvSpPr>
              <a:spLocks/>
            </p:cNvSpPr>
            <p:nvPr/>
          </p:nvSpPr>
          <p:spPr bwMode="auto">
            <a:xfrm>
              <a:off x="11728451" y="3071813"/>
              <a:ext cx="306388" cy="719138"/>
            </a:xfrm>
            <a:custGeom>
              <a:avLst/>
              <a:gdLst>
                <a:gd name="T0" fmla="*/ 0 w 72"/>
                <a:gd name="T1" fmla="*/ 84 h 169"/>
                <a:gd name="T2" fmla="*/ 20 w 72"/>
                <a:gd name="T3" fmla="*/ 20 h 169"/>
                <a:gd name="T4" fmla="*/ 42 w 72"/>
                <a:gd name="T5" fmla="*/ 9 h 169"/>
                <a:gd name="T6" fmla="*/ 62 w 72"/>
                <a:gd name="T7" fmla="*/ 44 h 169"/>
                <a:gd name="T8" fmla="*/ 62 w 72"/>
                <a:gd name="T9" fmla="*/ 125 h 169"/>
                <a:gd name="T10" fmla="*/ 43 w 72"/>
                <a:gd name="T11" fmla="*/ 159 h 169"/>
                <a:gd name="T12" fmla="*/ 20 w 72"/>
                <a:gd name="T13" fmla="*/ 148 h 169"/>
                <a:gd name="T14" fmla="*/ 0 w 72"/>
                <a:gd name="T15" fmla="*/ 84 h 16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2" h="169">
                  <a:moveTo>
                    <a:pt x="0" y="84"/>
                  </a:moveTo>
                  <a:cubicBezTo>
                    <a:pt x="2" y="62"/>
                    <a:pt x="6" y="39"/>
                    <a:pt x="20" y="20"/>
                  </a:cubicBezTo>
                  <a:cubicBezTo>
                    <a:pt x="25" y="13"/>
                    <a:pt x="31" y="0"/>
                    <a:pt x="42" y="9"/>
                  </a:cubicBezTo>
                  <a:cubicBezTo>
                    <a:pt x="53" y="18"/>
                    <a:pt x="72" y="25"/>
                    <a:pt x="62" y="44"/>
                  </a:cubicBezTo>
                  <a:cubicBezTo>
                    <a:pt x="47" y="72"/>
                    <a:pt x="47" y="97"/>
                    <a:pt x="62" y="125"/>
                  </a:cubicBezTo>
                  <a:cubicBezTo>
                    <a:pt x="72" y="143"/>
                    <a:pt x="53" y="151"/>
                    <a:pt x="43" y="159"/>
                  </a:cubicBezTo>
                  <a:cubicBezTo>
                    <a:pt x="31" y="169"/>
                    <a:pt x="25" y="156"/>
                    <a:pt x="20" y="148"/>
                  </a:cubicBezTo>
                  <a:cubicBezTo>
                    <a:pt x="6" y="129"/>
                    <a:pt x="2" y="107"/>
                    <a:pt x="0" y="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en-GB" noProof="0" dirty="0"/>
            </a:p>
          </p:txBody>
        </p:sp>
      </p:grpSp>
      <p:sp>
        <p:nvSpPr>
          <p:cNvPr id="15" name="Oval 14">
            <a:extLst>
              <a:ext uri="{FF2B5EF4-FFF2-40B4-BE49-F238E27FC236}">
                <a16:creationId xmlns:a16="http://schemas.microsoft.com/office/drawing/2014/main" id="{EF515B4A-CB20-4847-8E00-0DD66F1FEBB4}"/>
              </a:ext>
            </a:extLst>
          </p:cNvPr>
          <p:cNvSpPr/>
          <p:nvPr userDrawn="1"/>
        </p:nvSpPr>
        <p:spPr>
          <a:xfrm>
            <a:off x="11371669" y="6409397"/>
            <a:ext cx="280051" cy="280051"/>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noProof="0" dirty="0"/>
          </a:p>
        </p:txBody>
      </p:sp>
      <p:sp>
        <p:nvSpPr>
          <p:cNvPr id="16" name="Slide Number Placeholder 5">
            <a:extLst>
              <a:ext uri="{FF2B5EF4-FFF2-40B4-BE49-F238E27FC236}">
                <a16:creationId xmlns:a16="http://schemas.microsoft.com/office/drawing/2014/main" id="{996B64B9-1DF0-4EE9-BAB5-72AFA94B9AFD}"/>
              </a:ext>
            </a:extLst>
          </p:cNvPr>
          <p:cNvSpPr>
            <a:spLocks noGrp="1"/>
          </p:cNvSpPr>
          <p:nvPr>
            <p:ph type="sldNum" sz="quarter" idx="12"/>
          </p:nvPr>
        </p:nvSpPr>
        <p:spPr>
          <a:xfrm>
            <a:off x="11363696" y="6455739"/>
            <a:ext cx="294460" cy="187367"/>
          </a:xfrm>
        </p:spPr>
        <p:txBody>
          <a:bodyPr lIns="0" tIns="0" rIns="0" bIns="0" rtlCol="0"/>
          <a:lstStyle>
            <a:lvl1pPr algn="ctr">
              <a:defRPr sz="900">
                <a:solidFill>
                  <a:schemeClr val="bg1"/>
                </a:solidFill>
                <a:latin typeface="+mn-lt"/>
              </a:defRPr>
            </a:lvl1pPr>
          </a:lstStyle>
          <a:p>
            <a:pPr rtl="0"/>
            <a:fld id="{9EC71654-96A5-4280-94F3-931C61A9F92C}" type="slidenum">
              <a:rPr lang="en-GB" noProof="0" smtClean="0"/>
              <a:pPr/>
              <a:t>‹#›</a:t>
            </a:fld>
            <a:endParaRPr lang="en-GB" noProof="0" dirty="0"/>
          </a:p>
        </p:txBody>
      </p:sp>
      <p:sp>
        <p:nvSpPr>
          <p:cNvPr id="23" name="Picture Placeholder 22">
            <a:extLst>
              <a:ext uri="{FF2B5EF4-FFF2-40B4-BE49-F238E27FC236}">
                <a16:creationId xmlns:a16="http://schemas.microsoft.com/office/drawing/2014/main" id="{26619E66-5354-4D60-8529-27917AC037C0}"/>
              </a:ext>
            </a:extLst>
          </p:cNvPr>
          <p:cNvSpPr>
            <a:spLocks noGrp="1"/>
          </p:cNvSpPr>
          <p:nvPr>
            <p:ph type="pic" sz="quarter" idx="13"/>
          </p:nvPr>
        </p:nvSpPr>
        <p:spPr>
          <a:xfrm>
            <a:off x="5884648" y="0"/>
            <a:ext cx="6307353" cy="5780372"/>
          </a:xfrm>
          <a:custGeom>
            <a:avLst/>
            <a:gdLst>
              <a:gd name="connsiteX0" fmla="*/ 760444 w 6307353"/>
              <a:gd name="connsiteY0" fmla="*/ 0 h 5780372"/>
              <a:gd name="connsiteX1" fmla="*/ 6307353 w 6307353"/>
              <a:gd name="connsiteY1" fmla="*/ 0 h 5780372"/>
              <a:gd name="connsiteX2" fmla="*/ 6307353 w 6307353"/>
              <a:gd name="connsiteY2" fmla="*/ 4515612 h 5780372"/>
              <a:gd name="connsiteX3" fmla="*/ 6110746 w 6307353"/>
              <a:gd name="connsiteY3" fmla="*/ 4731934 h 5780372"/>
              <a:gd name="connsiteX4" fmla="*/ 3579592 w 6307353"/>
              <a:gd name="connsiteY4" fmla="*/ 5780372 h 5780372"/>
              <a:gd name="connsiteX5" fmla="*/ 0 w 6307353"/>
              <a:gd name="connsiteY5" fmla="*/ 2200780 h 5780372"/>
              <a:gd name="connsiteX6" fmla="*/ 611338 w 6307353"/>
              <a:gd name="connsiteY6" fmla="*/ 199396 h 57803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307353" h="5780372">
                <a:moveTo>
                  <a:pt x="760444" y="0"/>
                </a:moveTo>
                <a:lnTo>
                  <a:pt x="6307353" y="0"/>
                </a:lnTo>
                <a:lnTo>
                  <a:pt x="6307353" y="4515612"/>
                </a:lnTo>
                <a:lnTo>
                  <a:pt x="6110746" y="4731934"/>
                </a:lnTo>
                <a:cubicBezTo>
                  <a:pt x="5462967" y="5379713"/>
                  <a:pt x="4568069" y="5780372"/>
                  <a:pt x="3579592" y="5780372"/>
                </a:cubicBezTo>
                <a:cubicBezTo>
                  <a:pt x="1602638" y="5780372"/>
                  <a:pt x="0" y="4177734"/>
                  <a:pt x="0" y="2200780"/>
                </a:cubicBezTo>
                <a:cubicBezTo>
                  <a:pt x="0" y="1459422"/>
                  <a:pt x="225371" y="770703"/>
                  <a:pt x="611338" y="199396"/>
                </a:cubicBezTo>
                <a:close/>
              </a:path>
            </a:pathLst>
          </a:custGeom>
          <a:solidFill>
            <a:schemeClr val="bg2"/>
          </a:solidFill>
        </p:spPr>
        <p:txBody>
          <a:bodyPr wrap="square" rtlCol="0" anchor="ctr">
            <a:noAutofit/>
          </a:bodyPr>
          <a:lstStyle>
            <a:lvl1pPr marL="0" indent="0" algn="ctr">
              <a:buNone/>
              <a:defRPr/>
            </a:lvl1pPr>
          </a:lstStyle>
          <a:p>
            <a:pPr rtl="0"/>
            <a:r>
              <a:rPr lang="en-US" noProof="0"/>
              <a:t>Click icon to add picture</a:t>
            </a:r>
            <a:endParaRPr lang="en-GB" noProof="0" dirty="0"/>
          </a:p>
        </p:txBody>
      </p:sp>
      <p:sp>
        <p:nvSpPr>
          <p:cNvPr id="14" name="Title 1">
            <a:extLst>
              <a:ext uri="{FF2B5EF4-FFF2-40B4-BE49-F238E27FC236}">
                <a16:creationId xmlns:a16="http://schemas.microsoft.com/office/drawing/2014/main" id="{2E646B4F-6CCB-724C-9D5E-6D5770023939}"/>
              </a:ext>
            </a:extLst>
          </p:cNvPr>
          <p:cNvSpPr>
            <a:spLocks noGrp="1"/>
          </p:cNvSpPr>
          <p:nvPr>
            <p:ph type="title"/>
          </p:nvPr>
        </p:nvSpPr>
        <p:spPr>
          <a:xfrm>
            <a:off x="515938" y="499595"/>
            <a:ext cx="4937211" cy="1325563"/>
          </a:xfrm>
        </p:spPr>
        <p:txBody>
          <a:bodyPr lIns="0" tIns="0" rIns="0" bIns="0" rtlCol="0">
            <a:noAutofit/>
          </a:bodyPr>
          <a:lstStyle>
            <a:lvl1pPr>
              <a:defRPr sz="3200" b="1" cap="all" baseline="0"/>
            </a:lvl1pPr>
          </a:lstStyle>
          <a:p>
            <a:pPr rtl="0"/>
            <a:r>
              <a:rPr lang="en-US" noProof="0"/>
              <a:t>Click to edit Master title style</a:t>
            </a:r>
            <a:endParaRPr lang="en-GB" noProof="0" dirty="0"/>
          </a:p>
        </p:txBody>
      </p:sp>
    </p:spTree>
    <p:extLst>
      <p:ext uri="{BB962C8B-B14F-4D97-AF65-F5344CB8AC3E}">
        <p14:creationId xmlns:p14="http://schemas.microsoft.com/office/powerpoint/2010/main" val="169620843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nd Content 0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2970CD0-696D-4313-96BA-4AA72C813BD0}"/>
              </a:ext>
            </a:extLst>
          </p:cNvPr>
          <p:cNvSpPr>
            <a:spLocks noGrp="1"/>
          </p:cNvSpPr>
          <p:nvPr>
            <p:ph type="title"/>
          </p:nvPr>
        </p:nvSpPr>
        <p:spPr>
          <a:xfrm>
            <a:off x="515938" y="499595"/>
            <a:ext cx="4937211" cy="1325563"/>
          </a:xfrm>
        </p:spPr>
        <p:txBody>
          <a:bodyPr lIns="0" tIns="0" rIns="0" bIns="0" rtlCol="0">
            <a:noAutofit/>
          </a:bodyPr>
          <a:lstStyle>
            <a:lvl1pPr>
              <a:defRPr sz="3200" b="1" cap="all" baseline="0"/>
            </a:lvl1pPr>
          </a:lstStyle>
          <a:p>
            <a:pPr rtl="0"/>
            <a:r>
              <a:rPr lang="en-US" noProof="0"/>
              <a:t>Click to edit Master title style</a:t>
            </a:r>
            <a:endParaRPr lang="en-GB" noProof="0"/>
          </a:p>
        </p:txBody>
      </p:sp>
      <p:sp>
        <p:nvSpPr>
          <p:cNvPr id="3" name="Content Placeholder 2">
            <a:extLst>
              <a:ext uri="{FF2B5EF4-FFF2-40B4-BE49-F238E27FC236}">
                <a16:creationId xmlns:a16="http://schemas.microsoft.com/office/drawing/2014/main" id="{0FEE9886-36F0-4E06-A3A6-D8F00B0665A1}"/>
              </a:ext>
            </a:extLst>
          </p:cNvPr>
          <p:cNvSpPr>
            <a:spLocks noGrp="1"/>
          </p:cNvSpPr>
          <p:nvPr>
            <p:ph idx="1" hasCustomPrompt="1"/>
          </p:nvPr>
        </p:nvSpPr>
        <p:spPr>
          <a:xfrm>
            <a:off x="538960" y="1825625"/>
            <a:ext cx="4914189" cy="4351338"/>
          </a:xfrm>
        </p:spPr>
        <p:txBody>
          <a:bodyPr lIns="0" tIns="0" rIns="0" bIns="0" rtlCol="0">
            <a:noAutofit/>
          </a:bodyPr>
          <a:lstStyle>
            <a:lvl1pPr>
              <a:defRPr sz="2400"/>
            </a:lvl1pPr>
            <a:lvl2pPr>
              <a:defRPr sz="2000"/>
            </a:lvl2pPr>
            <a:lvl3pPr>
              <a:defRPr sz="1800"/>
            </a:lvl3pPr>
            <a:lvl4pPr>
              <a:defRPr sz="1600"/>
            </a:lvl4pPr>
            <a:lvl5pPr>
              <a:defRPr sz="1600"/>
            </a:lvl5pPr>
          </a:lstStyle>
          <a:p>
            <a:pPr lvl="0" rtl="0"/>
            <a:r>
              <a:rPr lang="en-GB" noProof="0"/>
              <a:t>Edit Master text styles</a:t>
            </a:r>
          </a:p>
          <a:p>
            <a:pPr lvl="1" rtl="0"/>
            <a:r>
              <a:rPr lang="en-GB" noProof="0"/>
              <a:t>Second level</a:t>
            </a:r>
          </a:p>
          <a:p>
            <a:pPr lvl="2" rtl="0"/>
            <a:r>
              <a:rPr lang="en-GB" noProof="0"/>
              <a:t>Third level</a:t>
            </a:r>
          </a:p>
          <a:p>
            <a:pPr lvl="3" rtl="0"/>
            <a:r>
              <a:rPr lang="en-GB" noProof="0"/>
              <a:t>Fourth level</a:t>
            </a:r>
          </a:p>
          <a:p>
            <a:pPr lvl="4" rtl="0"/>
            <a:r>
              <a:rPr lang="en-GB" noProof="0"/>
              <a:t>Fifth level</a:t>
            </a:r>
          </a:p>
        </p:txBody>
      </p:sp>
      <p:sp>
        <p:nvSpPr>
          <p:cNvPr id="7" name="Rectangle 6">
            <a:extLst>
              <a:ext uri="{FF2B5EF4-FFF2-40B4-BE49-F238E27FC236}">
                <a16:creationId xmlns:a16="http://schemas.microsoft.com/office/drawing/2014/main" id="{76627016-BFC4-46D4-89DB-F72E3C3461EC}"/>
              </a:ext>
            </a:extLst>
          </p:cNvPr>
          <p:cNvSpPr/>
          <p:nvPr userDrawn="1"/>
        </p:nvSpPr>
        <p:spPr>
          <a:xfrm rot="10800000">
            <a:off x="515938" y="-16721"/>
            <a:ext cx="1258618" cy="11050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noProof="0">
              <a:solidFill>
                <a:schemeClr val="bg1"/>
              </a:solidFill>
            </a:endParaRPr>
          </a:p>
        </p:txBody>
      </p:sp>
      <p:pic>
        <p:nvPicPr>
          <p:cNvPr id="8" name="Picture 7">
            <a:extLst>
              <a:ext uri="{FF2B5EF4-FFF2-40B4-BE49-F238E27FC236}">
                <a16:creationId xmlns:a16="http://schemas.microsoft.com/office/drawing/2014/main" id="{676C557E-B5A7-4416-BCC0-5743550BF152}"/>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472046" y="6261436"/>
            <a:ext cx="1073019" cy="414000"/>
          </a:xfrm>
          <a:prstGeom prst="rect">
            <a:avLst/>
          </a:prstGeom>
        </p:spPr>
      </p:pic>
      <p:sp>
        <p:nvSpPr>
          <p:cNvPr id="15" name="Oval 14">
            <a:extLst>
              <a:ext uri="{FF2B5EF4-FFF2-40B4-BE49-F238E27FC236}">
                <a16:creationId xmlns:a16="http://schemas.microsoft.com/office/drawing/2014/main" id="{EF515B4A-CB20-4847-8E00-0DD66F1FEBB4}"/>
              </a:ext>
            </a:extLst>
          </p:cNvPr>
          <p:cNvSpPr/>
          <p:nvPr userDrawn="1"/>
        </p:nvSpPr>
        <p:spPr>
          <a:xfrm>
            <a:off x="11371669" y="6409397"/>
            <a:ext cx="280051" cy="280051"/>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noProof="0"/>
          </a:p>
        </p:txBody>
      </p:sp>
      <p:sp>
        <p:nvSpPr>
          <p:cNvPr id="16" name="Slide Number Placeholder 5">
            <a:extLst>
              <a:ext uri="{FF2B5EF4-FFF2-40B4-BE49-F238E27FC236}">
                <a16:creationId xmlns:a16="http://schemas.microsoft.com/office/drawing/2014/main" id="{996B64B9-1DF0-4EE9-BAB5-72AFA94B9AFD}"/>
              </a:ext>
            </a:extLst>
          </p:cNvPr>
          <p:cNvSpPr>
            <a:spLocks noGrp="1"/>
          </p:cNvSpPr>
          <p:nvPr>
            <p:ph type="sldNum" sz="quarter" idx="12"/>
          </p:nvPr>
        </p:nvSpPr>
        <p:spPr>
          <a:xfrm>
            <a:off x="11363696" y="6455739"/>
            <a:ext cx="294460" cy="187367"/>
          </a:xfrm>
        </p:spPr>
        <p:txBody>
          <a:bodyPr lIns="0" tIns="0" rIns="0" bIns="0" rtlCol="0"/>
          <a:lstStyle>
            <a:lvl1pPr algn="ctr">
              <a:defRPr sz="900">
                <a:solidFill>
                  <a:schemeClr val="bg1"/>
                </a:solidFill>
                <a:latin typeface="+mn-lt"/>
              </a:defRPr>
            </a:lvl1pPr>
          </a:lstStyle>
          <a:p>
            <a:pPr rtl="0"/>
            <a:fld id="{9EC71654-96A5-4280-94F3-931C61A9F92C}" type="slidenum">
              <a:rPr lang="en-GB" noProof="0" smtClean="0"/>
              <a:pPr/>
              <a:t>‹#›</a:t>
            </a:fld>
            <a:endParaRPr lang="en-GB" noProof="0"/>
          </a:p>
        </p:txBody>
      </p:sp>
      <p:sp>
        <p:nvSpPr>
          <p:cNvPr id="14" name="Rectangle 13">
            <a:extLst>
              <a:ext uri="{FF2B5EF4-FFF2-40B4-BE49-F238E27FC236}">
                <a16:creationId xmlns:a16="http://schemas.microsoft.com/office/drawing/2014/main" id="{9D415693-E2CB-4DB4-B07C-2F96B0CAB302}"/>
              </a:ext>
            </a:extLst>
          </p:cNvPr>
          <p:cNvSpPr/>
          <p:nvPr userDrawn="1"/>
        </p:nvSpPr>
        <p:spPr>
          <a:xfrm>
            <a:off x="7854462" y="988536"/>
            <a:ext cx="4329129" cy="4880927"/>
          </a:xfrm>
          <a:prstGeom prst="rect">
            <a:avLst/>
          </a:prstGeom>
          <a:solidFill>
            <a:schemeClr val="accent1"/>
          </a:solidFill>
          <a:ln>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noProof="0"/>
          </a:p>
        </p:txBody>
      </p:sp>
      <p:sp>
        <p:nvSpPr>
          <p:cNvPr id="4" name="Oval 3">
            <a:extLst>
              <a:ext uri="{FF2B5EF4-FFF2-40B4-BE49-F238E27FC236}">
                <a16:creationId xmlns:a16="http://schemas.microsoft.com/office/drawing/2014/main" id="{14C1BF67-E354-4E04-8F94-BABF2B7D1AFB}"/>
              </a:ext>
            </a:extLst>
          </p:cNvPr>
          <p:cNvSpPr/>
          <p:nvPr userDrawn="1"/>
        </p:nvSpPr>
        <p:spPr>
          <a:xfrm>
            <a:off x="5107816" y="633613"/>
            <a:ext cx="5571908" cy="5571906"/>
          </a:xfrm>
          <a:prstGeom prst="ellipse">
            <a:avLst/>
          </a:prstGeom>
          <a:solidFill>
            <a:schemeClr val="bg2">
              <a:alpha val="5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noProof="0"/>
          </a:p>
        </p:txBody>
      </p:sp>
      <p:sp>
        <p:nvSpPr>
          <p:cNvPr id="18" name="Picture Placeholder 5">
            <a:extLst>
              <a:ext uri="{FF2B5EF4-FFF2-40B4-BE49-F238E27FC236}">
                <a16:creationId xmlns:a16="http://schemas.microsoft.com/office/drawing/2014/main" id="{FF6AC390-6F85-4B64-AE7A-E8E0D8FC89CF}"/>
              </a:ext>
            </a:extLst>
          </p:cNvPr>
          <p:cNvSpPr>
            <a:spLocks noGrp="1"/>
          </p:cNvSpPr>
          <p:nvPr>
            <p:ph type="pic" sz="quarter" idx="13"/>
          </p:nvPr>
        </p:nvSpPr>
        <p:spPr>
          <a:xfrm>
            <a:off x="5455212" y="988536"/>
            <a:ext cx="4884848" cy="4884848"/>
          </a:xfrm>
          <a:prstGeom prst="ellipse">
            <a:avLst/>
          </a:prstGeom>
          <a:solidFill>
            <a:schemeClr val="bg1">
              <a:lumMod val="85000"/>
            </a:schemeClr>
          </a:solidFill>
        </p:spPr>
        <p:txBody>
          <a:bodyPr rtlCol="0" anchor="ctr"/>
          <a:lstStyle>
            <a:lvl1pPr marL="0" indent="0" algn="ctr">
              <a:buNone/>
              <a:defRPr/>
            </a:lvl1pPr>
          </a:lstStyle>
          <a:p>
            <a:pPr rtl="0"/>
            <a:r>
              <a:rPr lang="en-US" noProof="0"/>
              <a:t>Click icon to add picture</a:t>
            </a:r>
            <a:endParaRPr lang="en-GB" noProof="0"/>
          </a:p>
        </p:txBody>
      </p:sp>
    </p:spTree>
    <p:extLst>
      <p:ext uri="{BB962C8B-B14F-4D97-AF65-F5344CB8AC3E}">
        <p14:creationId xmlns:p14="http://schemas.microsoft.com/office/powerpoint/2010/main" val="196998616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nd Content 03">
    <p:spTree>
      <p:nvGrpSpPr>
        <p:cNvPr id="1" name=""/>
        <p:cNvGrpSpPr/>
        <p:nvPr/>
      </p:nvGrpSpPr>
      <p:grpSpPr>
        <a:xfrm>
          <a:off x="0" y="0"/>
          <a:ext cx="0" cy="0"/>
          <a:chOff x="0" y="0"/>
          <a:chExt cx="0" cy="0"/>
        </a:xfrm>
      </p:grpSpPr>
      <p:sp>
        <p:nvSpPr>
          <p:cNvPr id="19" name="Rectangle 18">
            <a:extLst>
              <a:ext uri="{FF2B5EF4-FFF2-40B4-BE49-F238E27FC236}">
                <a16:creationId xmlns:a16="http://schemas.microsoft.com/office/drawing/2014/main" id="{12E4E194-63F1-4D43-AC02-75733DF045E9}"/>
              </a:ext>
            </a:extLst>
          </p:cNvPr>
          <p:cNvSpPr/>
          <p:nvPr userDrawn="1"/>
        </p:nvSpPr>
        <p:spPr>
          <a:xfrm>
            <a:off x="8308181" y="1630018"/>
            <a:ext cx="3883819" cy="437321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noProof="0"/>
          </a:p>
        </p:txBody>
      </p:sp>
      <p:sp>
        <p:nvSpPr>
          <p:cNvPr id="22" name="Oval 21">
            <a:extLst>
              <a:ext uri="{FF2B5EF4-FFF2-40B4-BE49-F238E27FC236}">
                <a16:creationId xmlns:a16="http://schemas.microsoft.com/office/drawing/2014/main" id="{E799E3E2-888B-2343-9A63-F84C03265CB5}"/>
              </a:ext>
            </a:extLst>
          </p:cNvPr>
          <p:cNvSpPr>
            <a:spLocks noChangeAspect="1"/>
          </p:cNvSpPr>
          <p:nvPr userDrawn="1"/>
        </p:nvSpPr>
        <p:spPr>
          <a:xfrm>
            <a:off x="9833702" y="1823757"/>
            <a:ext cx="832104" cy="832104"/>
          </a:xfrm>
          <a:prstGeom prst="ellipse">
            <a:avLst/>
          </a:prstGeom>
          <a:solidFill>
            <a:schemeClr val="accent3"/>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noProof="0"/>
          </a:p>
        </p:txBody>
      </p:sp>
      <p:sp>
        <p:nvSpPr>
          <p:cNvPr id="23" name="Picture Placeholder 11">
            <a:extLst>
              <a:ext uri="{FF2B5EF4-FFF2-40B4-BE49-F238E27FC236}">
                <a16:creationId xmlns:a16="http://schemas.microsoft.com/office/drawing/2014/main" id="{8FEDE8EF-5B7A-A741-9A56-D365CAE01B62}"/>
              </a:ext>
            </a:extLst>
          </p:cNvPr>
          <p:cNvSpPr>
            <a:spLocks noGrp="1"/>
          </p:cNvSpPr>
          <p:nvPr>
            <p:ph type="pic" sz="quarter" idx="19" hasCustomPrompt="1"/>
          </p:nvPr>
        </p:nvSpPr>
        <p:spPr>
          <a:xfrm>
            <a:off x="9998318" y="1988373"/>
            <a:ext cx="502873" cy="502873"/>
          </a:xfrm>
          <a:prstGeom prst="rect">
            <a:avLst/>
          </a:prstGeom>
          <a:noFill/>
        </p:spPr>
        <p:txBody>
          <a:bodyPr lIns="0" rIns="0" rtlCol="0" anchor="ctr">
            <a:noAutofit/>
          </a:bodyPr>
          <a:lstStyle>
            <a:lvl1pPr marL="0" indent="0" algn="ctr">
              <a:buNone/>
              <a:defRPr sz="1100">
                <a:solidFill>
                  <a:schemeClr val="bg1"/>
                </a:solidFill>
              </a:defRPr>
            </a:lvl1pPr>
          </a:lstStyle>
          <a:p>
            <a:pPr rtl="0"/>
            <a:r>
              <a:rPr lang="en-GB" noProof="0"/>
              <a:t>icon</a:t>
            </a:r>
          </a:p>
        </p:txBody>
      </p:sp>
      <p:sp>
        <p:nvSpPr>
          <p:cNvPr id="9" name="Rectangle 8">
            <a:extLst>
              <a:ext uri="{FF2B5EF4-FFF2-40B4-BE49-F238E27FC236}">
                <a16:creationId xmlns:a16="http://schemas.microsoft.com/office/drawing/2014/main" id="{3755C1FB-E61C-4BBC-8179-D34908DEA1B6}"/>
              </a:ext>
            </a:extLst>
          </p:cNvPr>
          <p:cNvSpPr/>
          <p:nvPr userDrawn="1"/>
        </p:nvSpPr>
        <p:spPr>
          <a:xfrm>
            <a:off x="0" y="1630018"/>
            <a:ext cx="3883819" cy="437321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noProof="0"/>
          </a:p>
        </p:txBody>
      </p:sp>
      <p:sp>
        <p:nvSpPr>
          <p:cNvPr id="4" name="Oval 3">
            <a:extLst>
              <a:ext uri="{FF2B5EF4-FFF2-40B4-BE49-F238E27FC236}">
                <a16:creationId xmlns:a16="http://schemas.microsoft.com/office/drawing/2014/main" id="{8C1E0992-271E-4948-9461-C7AA54AF8FEA}"/>
              </a:ext>
            </a:extLst>
          </p:cNvPr>
          <p:cNvSpPr>
            <a:spLocks noChangeAspect="1"/>
          </p:cNvSpPr>
          <p:nvPr userDrawn="1"/>
        </p:nvSpPr>
        <p:spPr>
          <a:xfrm>
            <a:off x="1526011" y="1823757"/>
            <a:ext cx="832104" cy="832104"/>
          </a:xfrm>
          <a:prstGeom prst="ellipse">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noProof="0"/>
          </a:p>
        </p:txBody>
      </p:sp>
      <p:sp>
        <p:nvSpPr>
          <p:cNvPr id="2" name="Title 1">
            <a:extLst>
              <a:ext uri="{FF2B5EF4-FFF2-40B4-BE49-F238E27FC236}">
                <a16:creationId xmlns:a16="http://schemas.microsoft.com/office/drawing/2014/main" id="{32970CD0-696D-4313-96BA-4AA72C813BD0}"/>
              </a:ext>
            </a:extLst>
          </p:cNvPr>
          <p:cNvSpPr>
            <a:spLocks noGrp="1"/>
          </p:cNvSpPr>
          <p:nvPr>
            <p:ph type="title"/>
          </p:nvPr>
        </p:nvSpPr>
        <p:spPr>
          <a:xfrm>
            <a:off x="515938" y="246621"/>
            <a:ext cx="11150600" cy="920336"/>
          </a:xfrm>
        </p:spPr>
        <p:txBody>
          <a:bodyPr lIns="0" tIns="0" rIns="0" bIns="0" rtlCol="0" anchor="b">
            <a:noAutofit/>
          </a:bodyPr>
          <a:lstStyle>
            <a:lvl1pPr>
              <a:defRPr sz="3200" b="1" cap="all" baseline="0"/>
            </a:lvl1pPr>
          </a:lstStyle>
          <a:p>
            <a:pPr rtl="0"/>
            <a:r>
              <a:rPr lang="en-US" noProof="0"/>
              <a:t>Click to edit Master title style</a:t>
            </a:r>
            <a:endParaRPr lang="en-GB" noProof="0"/>
          </a:p>
        </p:txBody>
      </p:sp>
      <p:sp>
        <p:nvSpPr>
          <p:cNvPr id="3" name="Content Placeholder 2">
            <a:extLst>
              <a:ext uri="{FF2B5EF4-FFF2-40B4-BE49-F238E27FC236}">
                <a16:creationId xmlns:a16="http://schemas.microsoft.com/office/drawing/2014/main" id="{0FEE9886-36F0-4E06-A3A6-D8F00B0665A1}"/>
              </a:ext>
            </a:extLst>
          </p:cNvPr>
          <p:cNvSpPr>
            <a:spLocks noGrp="1"/>
          </p:cNvSpPr>
          <p:nvPr>
            <p:ph idx="1" hasCustomPrompt="1"/>
          </p:nvPr>
        </p:nvSpPr>
        <p:spPr>
          <a:xfrm>
            <a:off x="219126" y="3207024"/>
            <a:ext cx="3445566" cy="2504663"/>
          </a:xfrm>
        </p:spPr>
        <p:txBody>
          <a:bodyPr lIns="0" tIns="0" rIns="0" bIns="0" rtlCol="0">
            <a:normAutofit/>
          </a:bodyPr>
          <a:lstStyle>
            <a:lvl1pPr marL="0" indent="0" algn="ctr">
              <a:buNone/>
              <a:defRPr sz="16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stStyle>
          <a:p>
            <a:pPr lvl="0" rtl="0"/>
            <a:r>
              <a:rPr lang="en-GB" noProof="0"/>
              <a:t>Edit Master text styles</a:t>
            </a:r>
          </a:p>
        </p:txBody>
      </p:sp>
      <p:sp>
        <p:nvSpPr>
          <p:cNvPr id="7" name="Rectangle 6">
            <a:extLst>
              <a:ext uri="{FF2B5EF4-FFF2-40B4-BE49-F238E27FC236}">
                <a16:creationId xmlns:a16="http://schemas.microsoft.com/office/drawing/2014/main" id="{76627016-BFC4-46D4-89DB-F72E3C3461EC}"/>
              </a:ext>
            </a:extLst>
          </p:cNvPr>
          <p:cNvSpPr/>
          <p:nvPr userDrawn="1"/>
        </p:nvSpPr>
        <p:spPr>
          <a:xfrm rot="10800000">
            <a:off x="515938" y="-16721"/>
            <a:ext cx="1258618" cy="11050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noProof="0">
              <a:solidFill>
                <a:schemeClr val="bg1"/>
              </a:solidFill>
            </a:endParaRPr>
          </a:p>
        </p:txBody>
      </p:sp>
      <p:pic>
        <p:nvPicPr>
          <p:cNvPr id="8" name="Picture 7">
            <a:extLst>
              <a:ext uri="{FF2B5EF4-FFF2-40B4-BE49-F238E27FC236}">
                <a16:creationId xmlns:a16="http://schemas.microsoft.com/office/drawing/2014/main" id="{676C557E-B5A7-4416-BCC0-5743550BF152}"/>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472046" y="6261436"/>
            <a:ext cx="1073019" cy="414000"/>
          </a:xfrm>
          <a:prstGeom prst="rect">
            <a:avLst/>
          </a:prstGeom>
        </p:spPr>
      </p:pic>
      <p:sp>
        <p:nvSpPr>
          <p:cNvPr id="15" name="Oval 14">
            <a:extLst>
              <a:ext uri="{FF2B5EF4-FFF2-40B4-BE49-F238E27FC236}">
                <a16:creationId xmlns:a16="http://schemas.microsoft.com/office/drawing/2014/main" id="{EF515B4A-CB20-4847-8E00-0DD66F1FEBB4}"/>
              </a:ext>
            </a:extLst>
          </p:cNvPr>
          <p:cNvSpPr/>
          <p:nvPr userDrawn="1"/>
        </p:nvSpPr>
        <p:spPr>
          <a:xfrm>
            <a:off x="11371669" y="6409397"/>
            <a:ext cx="280051" cy="280051"/>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noProof="0"/>
          </a:p>
        </p:txBody>
      </p:sp>
      <p:sp>
        <p:nvSpPr>
          <p:cNvPr id="16" name="Slide Number Placeholder 5">
            <a:extLst>
              <a:ext uri="{FF2B5EF4-FFF2-40B4-BE49-F238E27FC236}">
                <a16:creationId xmlns:a16="http://schemas.microsoft.com/office/drawing/2014/main" id="{996B64B9-1DF0-4EE9-BAB5-72AFA94B9AFD}"/>
              </a:ext>
            </a:extLst>
          </p:cNvPr>
          <p:cNvSpPr>
            <a:spLocks noGrp="1"/>
          </p:cNvSpPr>
          <p:nvPr>
            <p:ph type="sldNum" sz="quarter" idx="12"/>
          </p:nvPr>
        </p:nvSpPr>
        <p:spPr>
          <a:xfrm>
            <a:off x="11363696" y="6455739"/>
            <a:ext cx="294460" cy="187367"/>
          </a:xfrm>
        </p:spPr>
        <p:txBody>
          <a:bodyPr lIns="0" tIns="0" rIns="0" bIns="0" rtlCol="0"/>
          <a:lstStyle>
            <a:lvl1pPr algn="ctr">
              <a:defRPr sz="900">
                <a:solidFill>
                  <a:schemeClr val="bg1"/>
                </a:solidFill>
                <a:latin typeface="+mn-lt"/>
              </a:defRPr>
            </a:lvl1pPr>
          </a:lstStyle>
          <a:p>
            <a:pPr rtl="0"/>
            <a:fld id="{9EC71654-96A5-4280-94F3-931C61A9F92C}" type="slidenum">
              <a:rPr lang="en-GB" noProof="0" smtClean="0"/>
              <a:pPr/>
              <a:t>‹#›</a:t>
            </a:fld>
            <a:endParaRPr lang="en-GB" noProof="0"/>
          </a:p>
        </p:txBody>
      </p:sp>
      <p:sp>
        <p:nvSpPr>
          <p:cNvPr id="6" name="Picture Placeholder 5">
            <a:extLst>
              <a:ext uri="{FF2B5EF4-FFF2-40B4-BE49-F238E27FC236}">
                <a16:creationId xmlns:a16="http://schemas.microsoft.com/office/drawing/2014/main" id="{35B71D50-AA4B-4E0C-8F6A-0F64F2C8A8C7}"/>
              </a:ext>
            </a:extLst>
          </p:cNvPr>
          <p:cNvSpPr>
            <a:spLocks noGrp="1"/>
          </p:cNvSpPr>
          <p:nvPr>
            <p:ph type="pic" sz="quarter" idx="13"/>
          </p:nvPr>
        </p:nvSpPr>
        <p:spPr>
          <a:xfrm>
            <a:off x="3883819" y="1630018"/>
            <a:ext cx="4424362" cy="4373217"/>
          </a:xfrm>
          <a:solidFill>
            <a:schemeClr val="bg2">
              <a:lumMod val="90000"/>
            </a:schemeClr>
          </a:solidFill>
        </p:spPr>
        <p:txBody>
          <a:bodyPr rtlCol="0" anchor="ctr"/>
          <a:lstStyle>
            <a:lvl1pPr marL="0" indent="0" algn="ctr">
              <a:buNone/>
              <a:defRPr/>
            </a:lvl1pPr>
          </a:lstStyle>
          <a:p>
            <a:pPr rtl="0"/>
            <a:r>
              <a:rPr lang="en-US" noProof="0"/>
              <a:t>Click icon to add picture</a:t>
            </a:r>
            <a:endParaRPr lang="en-GB" noProof="0"/>
          </a:p>
        </p:txBody>
      </p:sp>
      <p:sp>
        <p:nvSpPr>
          <p:cNvPr id="17" name="Content Placeholder 2">
            <a:extLst>
              <a:ext uri="{FF2B5EF4-FFF2-40B4-BE49-F238E27FC236}">
                <a16:creationId xmlns:a16="http://schemas.microsoft.com/office/drawing/2014/main" id="{147C9C38-5B17-467D-B581-EF28ECB11E80}"/>
              </a:ext>
            </a:extLst>
          </p:cNvPr>
          <p:cNvSpPr>
            <a:spLocks noGrp="1"/>
          </p:cNvSpPr>
          <p:nvPr>
            <p:ph idx="14" hasCustomPrompt="1"/>
          </p:nvPr>
        </p:nvSpPr>
        <p:spPr>
          <a:xfrm>
            <a:off x="8527490" y="3207024"/>
            <a:ext cx="3445200" cy="2504663"/>
          </a:xfrm>
        </p:spPr>
        <p:txBody>
          <a:bodyPr lIns="0" tIns="0" rIns="0" bIns="0" rtlCol="0">
            <a:normAutofit/>
          </a:bodyPr>
          <a:lstStyle>
            <a:lvl1pPr marL="0" indent="0" algn="ctr">
              <a:buNone/>
              <a:defRPr sz="16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stStyle>
          <a:p>
            <a:pPr lvl="0" rtl="0"/>
            <a:r>
              <a:rPr lang="en-GB" noProof="0"/>
              <a:t>Edit Master text styles</a:t>
            </a:r>
          </a:p>
        </p:txBody>
      </p:sp>
      <p:sp>
        <p:nvSpPr>
          <p:cNvPr id="20" name="Content Placeholder 2">
            <a:extLst>
              <a:ext uri="{FF2B5EF4-FFF2-40B4-BE49-F238E27FC236}">
                <a16:creationId xmlns:a16="http://schemas.microsoft.com/office/drawing/2014/main" id="{FEB88DD7-AEB5-4718-AF2D-28B5B91ED715}"/>
              </a:ext>
            </a:extLst>
          </p:cNvPr>
          <p:cNvSpPr>
            <a:spLocks noGrp="1"/>
          </p:cNvSpPr>
          <p:nvPr>
            <p:ph idx="15" hasCustomPrompt="1"/>
          </p:nvPr>
        </p:nvSpPr>
        <p:spPr>
          <a:xfrm>
            <a:off x="219126" y="2711636"/>
            <a:ext cx="3445566" cy="495389"/>
          </a:xfrm>
        </p:spPr>
        <p:txBody>
          <a:bodyPr lIns="0" tIns="0" rIns="0" bIns="0" rtlCol="0" anchor="ctr">
            <a:noAutofit/>
          </a:bodyPr>
          <a:lstStyle>
            <a:lvl1pPr marL="0" indent="0" algn="ctr">
              <a:buNone/>
              <a:defRPr sz="1800" b="1" cap="all" baseline="0">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stStyle>
          <a:p>
            <a:pPr lvl="0" rtl="0"/>
            <a:r>
              <a:rPr lang="en-GB" noProof="0"/>
              <a:t>Edit Master text styles</a:t>
            </a:r>
          </a:p>
        </p:txBody>
      </p:sp>
      <p:sp>
        <p:nvSpPr>
          <p:cNvPr id="21" name="Content Placeholder 2">
            <a:extLst>
              <a:ext uri="{FF2B5EF4-FFF2-40B4-BE49-F238E27FC236}">
                <a16:creationId xmlns:a16="http://schemas.microsoft.com/office/drawing/2014/main" id="{F694448B-800C-40EF-8F61-18C018E8374C}"/>
              </a:ext>
            </a:extLst>
          </p:cNvPr>
          <p:cNvSpPr>
            <a:spLocks noGrp="1"/>
          </p:cNvSpPr>
          <p:nvPr>
            <p:ph idx="16" hasCustomPrompt="1"/>
          </p:nvPr>
        </p:nvSpPr>
        <p:spPr>
          <a:xfrm>
            <a:off x="8527124" y="2711636"/>
            <a:ext cx="3445566" cy="495389"/>
          </a:xfrm>
        </p:spPr>
        <p:txBody>
          <a:bodyPr lIns="0" tIns="0" rIns="0" bIns="0" rtlCol="0" anchor="ctr">
            <a:noAutofit/>
          </a:bodyPr>
          <a:lstStyle>
            <a:lvl1pPr marL="0" indent="0" algn="ctr">
              <a:buNone/>
              <a:defRPr sz="1800" b="1" cap="all" baseline="0">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stStyle>
          <a:p>
            <a:pPr lvl="0" rtl="0"/>
            <a:r>
              <a:rPr lang="en-GB" noProof="0"/>
              <a:t>Edit Master text styles</a:t>
            </a:r>
          </a:p>
        </p:txBody>
      </p:sp>
      <p:sp>
        <p:nvSpPr>
          <p:cNvPr id="12" name="Picture Placeholder 11">
            <a:extLst>
              <a:ext uri="{FF2B5EF4-FFF2-40B4-BE49-F238E27FC236}">
                <a16:creationId xmlns:a16="http://schemas.microsoft.com/office/drawing/2014/main" id="{483B974E-5202-4EAD-9D55-4129C84BAE87}"/>
              </a:ext>
            </a:extLst>
          </p:cNvPr>
          <p:cNvSpPr>
            <a:spLocks noGrp="1"/>
          </p:cNvSpPr>
          <p:nvPr>
            <p:ph type="pic" sz="quarter" idx="17" hasCustomPrompt="1"/>
          </p:nvPr>
        </p:nvSpPr>
        <p:spPr>
          <a:xfrm>
            <a:off x="1690627" y="1988373"/>
            <a:ext cx="502873" cy="502873"/>
          </a:xfrm>
          <a:prstGeom prst="rect">
            <a:avLst/>
          </a:prstGeom>
          <a:noFill/>
        </p:spPr>
        <p:txBody>
          <a:bodyPr lIns="0" rIns="0" rtlCol="0" anchor="ctr">
            <a:noAutofit/>
          </a:bodyPr>
          <a:lstStyle>
            <a:lvl1pPr marL="0" indent="0" algn="ctr">
              <a:buNone/>
              <a:defRPr sz="1100">
                <a:solidFill>
                  <a:schemeClr val="bg1"/>
                </a:solidFill>
              </a:defRPr>
            </a:lvl1pPr>
          </a:lstStyle>
          <a:p>
            <a:pPr rtl="0"/>
            <a:r>
              <a:rPr lang="en-GB" noProof="0"/>
              <a:t>icon</a:t>
            </a:r>
          </a:p>
        </p:txBody>
      </p:sp>
    </p:spTree>
    <p:extLst>
      <p:ext uri="{BB962C8B-B14F-4D97-AF65-F5344CB8AC3E}">
        <p14:creationId xmlns:p14="http://schemas.microsoft.com/office/powerpoint/2010/main" val="174103321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mparison Layout">
    <p:spTree>
      <p:nvGrpSpPr>
        <p:cNvPr id="1" name=""/>
        <p:cNvGrpSpPr/>
        <p:nvPr/>
      </p:nvGrpSpPr>
      <p:grpSpPr>
        <a:xfrm>
          <a:off x="0" y="0"/>
          <a:ext cx="0" cy="0"/>
          <a:chOff x="0" y="0"/>
          <a:chExt cx="0" cy="0"/>
        </a:xfrm>
      </p:grpSpPr>
      <p:sp>
        <p:nvSpPr>
          <p:cNvPr id="22" name="Rectangle 21">
            <a:extLst>
              <a:ext uri="{FF2B5EF4-FFF2-40B4-BE49-F238E27FC236}">
                <a16:creationId xmlns:a16="http://schemas.microsoft.com/office/drawing/2014/main" id="{1B6EB0C6-606C-4AFB-8FF8-AB43606B95BD}"/>
              </a:ext>
            </a:extLst>
          </p:cNvPr>
          <p:cNvSpPr/>
          <p:nvPr userDrawn="1"/>
        </p:nvSpPr>
        <p:spPr>
          <a:xfrm>
            <a:off x="6599236" y="4707908"/>
            <a:ext cx="5592763" cy="100647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noProof="0"/>
          </a:p>
        </p:txBody>
      </p:sp>
      <p:sp>
        <p:nvSpPr>
          <p:cNvPr id="4" name="Rectangle 3">
            <a:extLst>
              <a:ext uri="{FF2B5EF4-FFF2-40B4-BE49-F238E27FC236}">
                <a16:creationId xmlns:a16="http://schemas.microsoft.com/office/drawing/2014/main" id="{25CE6D5A-A5C0-4B12-A26A-691D5743FA5C}"/>
              </a:ext>
            </a:extLst>
          </p:cNvPr>
          <p:cNvSpPr/>
          <p:nvPr userDrawn="1"/>
        </p:nvSpPr>
        <p:spPr>
          <a:xfrm>
            <a:off x="-82063" y="1648186"/>
            <a:ext cx="5709139" cy="100647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noProof="0"/>
          </a:p>
        </p:txBody>
      </p:sp>
      <p:sp>
        <p:nvSpPr>
          <p:cNvPr id="2" name="Title 1">
            <a:extLst>
              <a:ext uri="{FF2B5EF4-FFF2-40B4-BE49-F238E27FC236}">
                <a16:creationId xmlns:a16="http://schemas.microsoft.com/office/drawing/2014/main" id="{32970CD0-696D-4313-96BA-4AA72C813BD0}"/>
              </a:ext>
            </a:extLst>
          </p:cNvPr>
          <p:cNvSpPr>
            <a:spLocks noGrp="1"/>
          </p:cNvSpPr>
          <p:nvPr>
            <p:ph type="title"/>
          </p:nvPr>
        </p:nvSpPr>
        <p:spPr>
          <a:xfrm>
            <a:off x="515938" y="246621"/>
            <a:ext cx="11150600" cy="920336"/>
          </a:xfrm>
        </p:spPr>
        <p:txBody>
          <a:bodyPr lIns="0" tIns="0" rIns="0" bIns="0" rtlCol="0" anchor="b">
            <a:noAutofit/>
          </a:bodyPr>
          <a:lstStyle>
            <a:lvl1pPr>
              <a:defRPr sz="3200" b="1" cap="all" baseline="0"/>
            </a:lvl1pPr>
          </a:lstStyle>
          <a:p>
            <a:pPr rtl="0"/>
            <a:r>
              <a:rPr lang="en-US" noProof="0"/>
              <a:t>Click to edit Master title style</a:t>
            </a:r>
            <a:endParaRPr lang="en-GB" noProof="0"/>
          </a:p>
        </p:txBody>
      </p:sp>
      <p:sp>
        <p:nvSpPr>
          <p:cNvPr id="3" name="Content Placeholder 2">
            <a:extLst>
              <a:ext uri="{FF2B5EF4-FFF2-40B4-BE49-F238E27FC236}">
                <a16:creationId xmlns:a16="http://schemas.microsoft.com/office/drawing/2014/main" id="{0FEE9886-36F0-4E06-A3A6-D8F00B0665A1}"/>
              </a:ext>
            </a:extLst>
          </p:cNvPr>
          <p:cNvSpPr>
            <a:spLocks noGrp="1"/>
          </p:cNvSpPr>
          <p:nvPr>
            <p:ph idx="1" hasCustomPrompt="1"/>
          </p:nvPr>
        </p:nvSpPr>
        <p:spPr>
          <a:xfrm>
            <a:off x="680934" y="2863158"/>
            <a:ext cx="4074002" cy="2846648"/>
          </a:xfrm>
        </p:spPr>
        <p:txBody>
          <a:bodyPr lIns="0" tIns="0" rIns="0" bIns="0" rtlCol="0">
            <a:noAutofit/>
          </a:bodyPr>
          <a:lstStyle>
            <a:lvl1pPr marL="0" indent="0" algn="r">
              <a:buNone/>
              <a:defRPr sz="16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stStyle>
          <a:p>
            <a:pPr lvl="0" rtl="0"/>
            <a:r>
              <a:rPr lang="en-GB" noProof="0"/>
              <a:t>Edit Master text styles</a:t>
            </a:r>
          </a:p>
        </p:txBody>
      </p:sp>
      <p:sp>
        <p:nvSpPr>
          <p:cNvPr id="7" name="Rectangle 6">
            <a:extLst>
              <a:ext uri="{FF2B5EF4-FFF2-40B4-BE49-F238E27FC236}">
                <a16:creationId xmlns:a16="http://schemas.microsoft.com/office/drawing/2014/main" id="{76627016-BFC4-46D4-89DB-F72E3C3461EC}"/>
              </a:ext>
            </a:extLst>
          </p:cNvPr>
          <p:cNvSpPr/>
          <p:nvPr userDrawn="1"/>
        </p:nvSpPr>
        <p:spPr>
          <a:xfrm rot="10800000">
            <a:off x="515938" y="-16721"/>
            <a:ext cx="1258618" cy="11050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noProof="0">
              <a:solidFill>
                <a:schemeClr val="accent2"/>
              </a:solidFill>
            </a:endParaRPr>
          </a:p>
        </p:txBody>
      </p:sp>
      <p:pic>
        <p:nvPicPr>
          <p:cNvPr id="8" name="Picture 7">
            <a:extLst>
              <a:ext uri="{FF2B5EF4-FFF2-40B4-BE49-F238E27FC236}">
                <a16:creationId xmlns:a16="http://schemas.microsoft.com/office/drawing/2014/main" id="{676C557E-B5A7-4416-BCC0-5743550BF152}"/>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472046" y="6261436"/>
            <a:ext cx="1073019" cy="414000"/>
          </a:xfrm>
          <a:prstGeom prst="rect">
            <a:avLst/>
          </a:prstGeom>
        </p:spPr>
      </p:pic>
      <p:sp>
        <p:nvSpPr>
          <p:cNvPr id="15" name="Oval 14">
            <a:extLst>
              <a:ext uri="{FF2B5EF4-FFF2-40B4-BE49-F238E27FC236}">
                <a16:creationId xmlns:a16="http://schemas.microsoft.com/office/drawing/2014/main" id="{EF515B4A-CB20-4847-8E00-0DD66F1FEBB4}"/>
              </a:ext>
            </a:extLst>
          </p:cNvPr>
          <p:cNvSpPr/>
          <p:nvPr userDrawn="1"/>
        </p:nvSpPr>
        <p:spPr>
          <a:xfrm>
            <a:off x="11371669" y="6409397"/>
            <a:ext cx="280051" cy="280051"/>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noProof="0"/>
          </a:p>
        </p:txBody>
      </p:sp>
      <p:sp>
        <p:nvSpPr>
          <p:cNvPr id="16" name="Slide Number Placeholder 5">
            <a:extLst>
              <a:ext uri="{FF2B5EF4-FFF2-40B4-BE49-F238E27FC236}">
                <a16:creationId xmlns:a16="http://schemas.microsoft.com/office/drawing/2014/main" id="{996B64B9-1DF0-4EE9-BAB5-72AFA94B9AFD}"/>
              </a:ext>
            </a:extLst>
          </p:cNvPr>
          <p:cNvSpPr>
            <a:spLocks noGrp="1"/>
          </p:cNvSpPr>
          <p:nvPr>
            <p:ph type="sldNum" sz="quarter" idx="12"/>
          </p:nvPr>
        </p:nvSpPr>
        <p:spPr>
          <a:xfrm>
            <a:off x="11363696" y="6455739"/>
            <a:ext cx="294460" cy="187367"/>
          </a:xfrm>
        </p:spPr>
        <p:txBody>
          <a:bodyPr lIns="0" tIns="0" rIns="0" bIns="0" rtlCol="0"/>
          <a:lstStyle>
            <a:lvl1pPr algn="ctr">
              <a:defRPr sz="900">
                <a:solidFill>
                  <a:schemeClr val="bg1"/>
                </a:solidFill>
                <a:latin typeface="+mn-lt"/>
              </a:defRPr>
            </a:lvl1pPr>
          </a:lstStyle>
          <a:p>
            <a:pPr rtl="0"/>
            <a:fld id="{9EC71654-96A5-4280-94F3-931C61A9F92C}" type="slidenum">
              <a:rPr lang="en-GB" noProof="0" smtClean="0"/>
              <a:pPr/>
              <a:t>‹#›</a:t>
            </a:fld>
            <a:endParaRPr lang="en-GB" noProof="0"/>
          </a:p>
        </p:txBody>
      </p:sp>
      <p:sp>
        <p:nvSpPr>
          <p:cNvPr id="20" name="Content Placeholder 2">
            <a:extLst>
              <a:ext uri="{FF2B5EF4-FFF2-40B4-BE49-F238E27FC236}">
                <a16:creationId xmlns:a16="http://schemas.microsoft.com/office/drawing/2014/main" id="{FEB88DD7-AEB5-4718-AF2D-28B5B91ED715}"/>
              </a:ext>
            </a:extLst>
          </p:cNvPr>
          <p:cNvSpPr>
            <a:spLocks noGrp="1"/>
          </p:cNvSpPr>
          <p:nvPr>
            <p:ph idx="15" hasCustomPrompt="1"/>
          </p:nvPr>
        </p:nvSpPr>
        <p:spPr>
          <a:xfrm>
            <a:off x="1309370" y="1903728"/>
            <a:ext cx="3445566" cy="495389"/>
          </a:xfrm>
        </p:spPr>
        <p:txBody>
          <a:bodyPr lIns="0" tIns="0" rIns="0" bIns="0" rtlCol="0" anchor="ctr">
            <a:noAutofit/>
          </a:bodyPr>
          <a:lstStyle>
            <a:lvl1pPr marL="0" indent="0" algn="r">
              <a:buNone/>
              <a:defRPr sz="1800" b="1" cap="all" baseline="0">
                <a:solidFill>
                  <a:schemeClr val="accent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stStyle>
          <a:p>
            <a:pPr lvl="0" rtl="0"/>
            <a:r>
              <a:rPr lang="en-GB" noProof="0"/>
              <a:t>Topic 01 comes here</a:t>
            </a:r>
          </a:p>
        </p:txBody>
      </p:sp>
      <p:sp>
        <p:nvSpPr>
          <p:cNvPr id="23" name="Content Placeholder 2">
            <a:extLst>
              <a:ext uri="{FF2B5EF4-FFF2-40B4-BE49-F238E27FC236}">
                <a16:creationId xmlns:a16="http://schemas.microsoft.com/office/drawing/2014/main" id="{E5123CE7-2F8A-489B-BD99-0C2A33ADF49A}"/>
              </a:ext>
            </a:extLst>
          </p:cNvPr>
          <p:cNvSpPr>
            <a:spLocks noGrp="1"/>
          </p:cNvSpPr>
          <p:nvPr>
            <p:ph idx="19" hasCustomPrompt="1"/>
          </p:nvPr>
        </p:nvSpPr>
        <p:spPr>
          <a:xfrm>
            <a:off x="7327918" y="1648186"/>
            <a:ext cx="4074002" cy="2834508"/>
          </a:xfrm>
        </p:spPr>
        <p:txBody>
          <a:bodyPr lIns="0" tIns="0" rIns="0" bIns="0" rtlCol="0" anchor="b">
            <a:noAutofit/>
          </a:bodyPr>
          <a:lstStyle>
            <a:lvl1pPr marL="0" indent="0" algn="l">
              <a:buNone/>
              <a:defRPr sz="16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stStyle>
          <a:p>
            <a:pPr lvl="0" rtl="0"/>
            <a:r>
              <a:rPr lang="en-GB" noProof="0"/>
              <a:t>Edit Master text styles</a:t>
            </a:r>
          </a:p>
        </p:txBody>
      </p:sp>
      <p:sp>
        <p:nvSpPr>
          <p:cNvPr id="25" name="Content Placeholder 2">
            <a:extLst>
              <a:ext uri="{FF2B5EF4-FFF2-40B4-BE49-F238E27FC236}">
                <a16:creationId xmlns:a16="http://schemas.microsoft.com/office/drawing/2014/main" id="{07730BCF-AC2A-4FEC-8F01-63964DB444CF}"/>
              </a:ext>
            </a:extLst>
          </p:cNvPr>
          <p:cNvSpPr>
            <a:spLocks noGrp="1"/>
          </p:cNvSpPr>
          <p:nvPr>
            <p:ph idx="20" hasCustomPrompt="1"/>
          </p:nvPr>
        </p:nvSpPr>
        <p:spPr>
          <a:xfrm>
            <a:off x="7475709" y="4963450"/>
            <a:ext cx="3445566" cy="495389"/>
          </a:xfrm>
        </p:spPr>
        <p:txBody>
          <a:bodyPr lIns="0" tIns="0" rIns="0" bIns="0" rtlCol="0" anchor="ctr">
            <a:noAutofit/>
          </a:bodyPr>
          <a:lstStyle>
            <a:lvl1pPr marL="0" indent="0" algn="l">
              <a:buNone/>
              <a:defRPr sz="1800" b="1" cap="all" baseline="0">
                <a:solidFill>
                  <a:schemeClr val="accent3"/>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stStyle>
          <a:p>
            <a:pPr lvl="0" rtl="0"/>
            <a:r>
              <a:rPr lang="en-GB" noProof="0"/>
              <a:t>Topic 02 comes here</a:t>
            </a:r>
          </a:p>
        </p:txBody>
      </p:sp>
      <p:sp>
        <p:nvSpPr>
          <p:cNvPr id="21" name="Oval 20">
            <a:extLst>
              <a:ext uri="{FF2B5EF4-FFF2-40B4-BE49-F238E27FC236}">
                <a16:creationId xmlns:a16="http://schemas.microsoft.com/office/drawing/2014/main" id="{919C8692-230B-D543-A7F7-4FD61B04D1C6}"/>
              </a:ext>
            </a:extLst>
          </p:cNvPr>
          <p:cNvSpPr>
            <a:spLocks noChangeAspect="1"/>
          </p:cNvSpPr>
          <p:nvPr userDrawn="1"/>
        </p:nvSpPr>
        <p:spPr>
          <a:xfrm>
            <a:off x="5084763" y="1652762"/>
            <a:ext cx="1001899" cy="1001899"/>
          </a:xfrm>
          <a:prstGeom prst="ellipse">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noProof="0"/>
          </a:p>
        </p:txBody>
      </p:sp>
      <p:sp>
        <p:nvSpPr>
          <p:cNvPr id="24" name="Picture Placeholder 11">
            <a:extLst>
              <a:ext uri="{FF2B5EF4-FFF2-40B4-BE49-F238E27FC236}">
                <a16:creationId xmlns:a16="http://schemas.microsoft.com/office/drawing/2014/main" id="{E150BFC7-A11D-CC46-B5A2-8BD93C269506}"/>
              </a:ext>
            </a:extLst>
          </p:cNvPr>
          <p:cNvSpPr>
            <a:spLocks noGrp="1"/>
          </p:cNvSpPr>
          <p:nvPr>
            <p:ph type="pic" sz="quarter" idx="21" hasCustomPrompt="1"/>
          </p:nvPr>
        </p:nvSpPr>
        <p:spPr>
          <a:xfrm>
            <a:off x="5282969" y="1850968"/>
            <a:ext cx="605487" cy="605487"/>
          </a:xfrm>
          <a:prstGeom prst="rect">
            <a:avLst/>
          </a:prstGeom>
          <a:noFill/>
        </p:spPr>
        <p:txBody>
          <a:bodyPr lIns="0" rIns="0" rtlCol="0" anchor="ctr">
            <a:normAutofit/>
          </a:bodyPr>
          <a:lstStyle>
            <a:lvl1pPr marL="0" indent="0" algn="ctr">
              <a:buNone/>
              <a:defRPr sz="1100">
                <a:solidFill>
                  <a:schemeClr val="bg1"/>
                </a:solidFill>
              </a:defRPr>
            </a:lvl1pPr>
          </a:lstStyle>
          <a:p>
            <a:pPr rtl="0"/>
            <a:r>
              <a:rPr lang="en-GB" noProof="0"/>
              <a:t>icon</a:t>
            </a:r>
          </a:p>
        </p:txBody>
      </p:sp>
      <p:sp>
        <p:nvSpPr>
          <p:cNvPr id="28" name="Oval 27">
            <a:extLst>
              <a:ext uri="{FF2B5EF4-FFF2-40B4-BE49-F238E27FC236}">
                <a16:creationId xmlns:a16="http://schemas.microsoft.com/office/drawing/2014/main" id="{F95B55F4-B501-3440-8904-A1C7F049CBE8}"/>
              </a:ext>
            </a:extLst>
          </p:cNvPr>
          <p:cNvSpPr>
            <a:spLocks noChangeAspect="1"/>
          </p:cNvSpPr>
          <p:nvPr userDrawn="1"/>
        </p:nvSpPr>
        <p:spPr>
          <a:xfrm>
            <a:off x="6100576" y="4707907"/>
            <a:ext cx="1001899" cy="1001899"/>
          </a:xfrm>
          <a:prstGeom prst="ellipse">
            <a:avLst/>
          </a:prstGeom>
          <a:solidFill>
            <a:schemeClr val="accent3"/>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noProof="0"/>
          </a:p>
        </p:txBody>
      </p:sp>
      <p:sp>
        <p:nvSpPr>
          <p:cNvPr id="29" name="Picture Placeholder 11">
            <a:extLst>
              <a:ext uri="{FF2B5EF4-FFF2-40B4-BE49-F238E27FC236}">
                <a16:creationId xmlns:a16="http://schemas.microsoft.com/office/drawing/2014/main" id="{F2116994-BE3E-6A43-9C15-E71BA8EC821F}"/>
              </a:ext>
            </a:extLst>
          </p:cNvPr>
          <p:cNvSpPr>
            <a:spLocks noGrp="1"/>
          </p:cNvSpPr>
          <p:nvPr>
            <p:ph type="pic" sz="quarter" idx="22" hasCustomPrompt="1"/>
          </p:nvPr>
        </p:nvSpPr>
        <p:spPr>
          <a:xfrm>
            <a:off x="6298782" y="4906113"/>
            <a:ext cx="605487" cy="605487"/>
          </a:xfrm>
          <a:prstGeom prst="rect">
            <a:avLst/>
          </a:prstGeom>
          <a:noFill/>
        </p:spPr>
        <p:txBody>
          <a:bodyPr lIns="0" rIns="0" rtlCol="0" anchor="ctr">
            <a:normAutofit/>
          </a:bodyPr>
          <a:lstStyle>
            <a:lvl1pPr marL="0" indent="0" algn="ctr">
              <a:buNone/>
              <a:defRPr sz="1100">
                <a:solidFill>
                  <a:schemeClr val="bg1"/>
                </a:solidFill>
              </a:defRPr>
            </a:lvl1pPr>
          </a:lstStyle>
          <a:p>
            <a:pPr rtl="0"/>
            <a:r>
              <a:rPr lang="en-GB" noProof="0"/>
              <a:t>icon</a:t>
            </a:r>
          </a:p>
        </p:txBody>
      </p:sp>
    </p:spTree>
    <p:extLst>
      <p:ext uri="{BB962C8B-B14F-4D97-AF65-F5344CB8AC3E}">
        <p14:creationId xmlns:p14="http://schemas.microsoft.com/office/powerpoint/2010/main" val="89140091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pSp>
        <p:nvGrpSpPr>
          <p:cNvPr id="11" name="Group 10">
            <a:extLst>
              <a:ext uri="{FF2B5EF4-FFF2-40B4-BE49-F238E27FC236}">
                <a16:creationId xmlns:a16="http://schemas.microsoft.com/office/drawing/2014/main" id="{04B31150-A166-4DB3-A898-2154C9665891}"/>
              </a:ext>
            </a:extLst>
          </p:cNvPr>
          <p:cNvGrpSpPr/>
          <p:nvPr userDrawn="1"/>
        </p:nvGrpSpPr>
        <p:grpSpPr>
          <a:xfrm rot="8650774" flipH="1" flipV="1">
            <a:off x="7430044" y="-1843126"/>
            <a:ext cx="4436224" cy="5482435"/>
            <a:chOff x="11114088" y="2241550"/>
            <a:chExt cx="1905000" cy="2354263"/>
          </a:xfrm>
          <a:solidFill>
            <a:schemeClr val="bg2">
              <a:alpha val="53000"/>
            </a:schemeClr>
          </a:solidFill>
        </p:grpSpPr>
        <p:sp>
          <p:nvSpPr>
            <p:cNvPr id="12" name="Freeform 5">
              <a:extLst>
                <a:ext uri="{FF2B5EF4-FFF2-40B4-BE49-F238E27FC236}">
                  <a16:creationId xmlns:a16="http://schemas.microsoft.com/office/drawing/2014/main" id="{1C1A95BC-42CA-4166-918D-DF4306881408}"/>
                </a:ext>
              </a:extLst>
            </p:cNvPr>
            <p:cNvSpPr>
              <a:spLocks/>
            </p:cNvSpPr>
            <p:nvPr/>
          </p:nvSpPr>
          <p:spPr bwMode="auto">
            <a:xfrm>
              <a:off x="11114088" y="2241550"/>
              <a:ext cx="1905000" cy="2354263"/>
            </a:xfrm>
            <a:custGeom>
              <a:avLst/>
              <a:gdLst>
                <a:gd name="T0" fmla="*/ 0 w 447"/>
                <a:gd name="T1" fmla="*/ 264 h 553"/>
                <a:gd name="T2" fmla="*/ 141 w 447"/>
                <a:gd name="T3" fmla="*/ 48 h 553"/>
                <a:gd name="T4" fmla="*/ 414 w 447"/>
                <a:gd name="T5" fmla="*/ 67 h 553"/>
                <a:gd name="T6" fmla="*/ 438 w 447"/>
                <a:gd name="T7" fmla="*/ 98 h 553"/>
                <a:gd name="T8" fmla="*/ 391 w 447"/>
                <a:gd name="T9" fmla="*/ 111 h 553"/>
                <a:gd name="T10" fmla="*/ 94 w 447"/>
                <a:gd name="T11" fmla="*/ 149 h 553"/>
                <a:gd name="T12" fmla="*/ 107 w 447"/>
                <a:gd name="T13" fmla="*/ 424 h 553"/>
                <a:gd name="T14" fmla="*/ 383 w 447"/>
                <a:gd name="T15" fmla="*/ 453 h 553"/>
                <a:gd name="T16" fmla="*/ 393 w 447"/>
                <a:gd name="T17" fmla="*/ 446 h 553"/>
                <a:gd name="T18" fmla="*/ 433 w 447"/>
                <a:gd name="T19" fmla="*/ 449 h 553"/>
                <a:gd name="T20" fmla="*/ 421 w 447"/>
                <a:gd name="T21" fmla="*/ 485 h 553"/>
                <a:gd name="T22" fmla="*/ 194 w 447"/>
                <a:gd name="T23" fmla="*/ 531 h 553"/>
                <a:gd name="T24" fmla="*/ 0 w 447"/>
                <a:gd name="T25" fmla="*/ 264 h 5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7" h="553">
                  <a:moveTo>
                    <a:pt x="0" y="264"/>
                  </a:moveTo>
                  <a:cubicBezTo>
                    <a:pt x="5" y="176"/>
                    <a:pt x="49" y="96"/>
                    <a:pt x="141" y="48"/>
                  </a:cubicBezTo>
                  <a:cubicBezTo>
                    <a:pt x="235" y="0"/>
                    <a:pt x="327" y="9"/>
                    <a:pt x="414" y="67"/>
                  </a:cubicBezTo>
                  <a:cubicBezTo>
                    <a:pt x="425" y="75"/>
                    <a:pt x="439" y="82"/>
                    <a:pt x="438" y="98"/>
                  </a:cubicBezTo>
                  <a:cubicBezTo>
                    <a:pt x="437" y="120"/>
                    <a:pt x="413" y="127"/>
                    <a:pt x="391" y="111"/>
                  </a:cubicBezTo>
                  <a:cubicBezTo>
                    <a:pt x="294" y="40"/>
                    <a:pt x="166" y="56"/>
                    <a:pt x="94" y="149"/>
                  </a:cubicBezTo>
                  <a:cubicBezTo>
                    <a:pt x="30" y="231"/>
                    <a:pt x="36" y="349"/>
                    <a:pt x="107" y="424"/>
                  </a:cubicBezTo>
                  <a:cubicBezTo>
                    <a:pt x="180" y="502"/>
                    <a:pt x="296" y="514"/>
                    <a:pt x="383" y="453"/>
                  </a:cubicBezTo>
                  <a:cubicBezTo>
                    <a:pt x="386" y="451"/>
                    <a:pt x="390" y="449"/>
                    <a:pt x="393" y="446"/>
                  </a:cubicBezTo>
                  <a:cubicBezTo>
                    <a:pt x="407" y="433"/>
                    <a:pt x="420" y="433"/>
                    <a:pt x="433" y="449"/>
                  </a:cubicBezTo>
                  <a:cubicBezTo>
                    <a:pt x="447" y="467"/>
                    <a:pt x="433" y="477"/>
                    <a:pt x="421" y="485"/>
                  </a:cubicBezTo>
                  <a:cubicBezTo>
                    <a:pt x="353" y="537"/>
                    <a:pt x="277" y="553"/>
                    <a:pt x="194" y="531"/>
                  </a:cubicBezTo>
                  <a:cubicBezTo>
                    <a:pt x="79" y="501"/>
                    <a:pt x="1" y="397"/>
                    <a:pt x="0" y="26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en-GB" noProof="0" dirty="0"/>
            </a:p>
          </p:txBody>
        </p:sp>
        <p:sp>
          <p:nvSpPr>
            <p:cNvPr id="13" name="Freeform 6">
              <a:extLst>
                <a:ext uri="{FF2B5EF4-FFF2-40B4-BE49-F238E27FC236}">
                  <a16:creationId xmlns:a16="http://schemas.microsoft.com/office/drawing/2014/main" id="{4B4D5F91-2158-4A30-B83C-5CC9CC6E5D4F}"/>
                </a:ext>
              </a:extLst>
            </p:cNvPr>
            <p:cNvSpPr>
              <a:spLocks/>
            </p:cNvSpPr>
            <p:nvPr/>
          </p:nvSpPr>
          <p:spPr bwMode="auto">
            <a:xfrm>
              <a:off x="11412538" y="2590800"/>
              <a:ext cx="835025" cy="1673225"/>
            </a:xfrm>
            <a:custGeom>
              <a:avLst/>
              <a:gdLst>
                <a:gd name="T0" fmla="*/ 0 w 196"/>
                <a:gd name="T1" fmla="*/ 198 h 393"/>
                <a:gd name="T2" fmla="*/ 157 w 196"/>
                <a:gd name="T3" fmla="*/ 8 h 393"/>
                <a:gd name="T4" fmla="*/ 192 w 196"/>
                <a:gd name="T5" fmla="*/ 22 h 393"/>
                <a:gd name="T6" fmla="*/ 167 w 196"/>
                <a:gd name="T7" fmla="*/ 56 h 393"/>
                <a:gd name="T8" fmla="*/ 48 w 196"/>
                <a:gd name="T9" fmla="*/ 198 h 393"/>
                <a:gd name="T10" fmla="*/ 170 w 196"/>
                <a:gd name="T11" fmla="*/ 339 h 393"/>
                <a:gd name="T12" fmla="*/ 193 w 196"/>
                <a:gd name="T13" fmla="*/ 372 h 393"/>
                <a:gd name="T14" fmla="*/ 160 w 196"/>
                <a:gd name="T15" fmla="*/ 387 h 393"/>
                <a:gd name="T16" fmla="*/ 0 w 196"/>
                <a:gd name="T17" fmla="*/ 198 h 3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6" h="393">
                  <a:moveTo>
                    <a:pt x="0" y="198"/>
                  </a:moveTo>
                  <a:cubicBezTo>
                    <a:pt x="0" y="103"/>
                    <a:pt x="64" y="26"/>
                    <a:pt x="157" y="8"/>
                  </a:cubicBezTo>
                  <a:cubicBezTo>
                    <a:pt x="171" y="6"/>
                    <a:pt x="188" y="0"/>
                    <a:pt x="192" y="22"/>
                  </a:cubicBezTo>
                  <a:cubicBezTo>
                    <a:pt x="196" y="41"/>
                    <a:pt x="190" y="52"/>
                    <a:pt x="167" y="56"/>
                  </a:cubicBezTo>
                  <a:cubicBezTo>
                    <a:pt x="95" y="70"/>
                    <a:pt x="47" y="129"/>
                    <a:pt x="48" y="198"/>
                  </a:cubicBezTo>
                  <a:cubicBezTo>
                    <a:pt x="48" y="267"/>
                    <a:pt x="97" y="325"/>
                    <a:pt x="170" y="339"/>
                  </a:cubicBezTo>
                  <a:cubicBezTo>
                    <a:pt x="191" y="343"/>
                    <a:pt x="195" y="354"/>
                    <a:pt x="193" y="372"/>
                  </a:cubicBezTo>
                  <a:cubicBezTo>
                    <a:pt x="190" y="393"/>
                    <a:pt x="174" y="389"/>
                    <a:pt x="160" y="387"/>
                  </a:cubicBezTo>
                  <a:cubicBezTo>
                    <a:pt x="70" y="375"/>
                    <a:pt x="0" y="293"/>
                    <a:pt x="0" y="19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en-GB" noProof="0" dirty="0"/>
            </a:p>
          </p:txBody>
        </p:sp>
        <p:sp>
          <p:nvSpPr>
            <p:cNvPr id="14" name="Freeform 7">
              <a:extLst>
                <a:ext uri="{FF2B5EF4-FFF2-40B4-BE49-F238E27FC236}">
                  <a16:creationId xmlns:a16="http://schemas.microsoft.com/office/drawing/2014/main" id="{C509E5D6-79CC-4E1D-AAF4-C6F28F3C1777}"/>
                </a:ext>
              </a:extLst>
            </p:cNvPr>
            <p:cNvSpPr>
              <a:spLocks/>
            </p:cNvSpPr>
            <p:nvPr/>
          </p:nvSpPr>
          <p:spPr bwMode="auto">
            <a:xfrm>
              <a:off x="11728451" y="3071813"/>
              <a:ext cx="306388" cy="719138"/>
            </a:xfrm>
            <a:custGeom>
              <a:avLst/>
              <a:gdLst>
                <a:gd name="T0" fmla="*/ 0 w 72"/>
                <a:gd name="T1" fmla="*/ 84 h 169"/>
                <a:gd name="T2" fmla="*/ 20 w 72"/>
                <a:gd name="T3" fmla="*/ 20 h 169"/>
                <a:gd name="T4" fmla="*/ 42 w 72"/>
                <a:gd name="T5" fmla="*/ 9 h 169"/>
                <a:gd name="T6" fmla="*/ 62 w 72"/>
                <a:gd name="T7" fmla="*/ 44 h 169"/>
                <a:gd name="T8" fmla="*/ 62 w 72"/>
                <a:gd name="T9" fmla="*/ 125 h 169"/>
                <a:gd name="T10" fmla="*/ 43 w 72"/>
                <a:gd name="T11" fmla="*/ 159 h 169"/>
                <a:gd name="T12" fmla="*/ 20 w 72"/>
                <a:gd name="T13" fmla="*/ 148 h 169"/>
                <a:gd name="T14" fmla="*/ 0 w 72"/>
                <a:gd name="T15" fmla="*/ 84 h 16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2" h="169">
                  <a:moveTo>
                    <a:pt x="0" y="84"/>
                  </a:moveTo>
                  <a:cubicBezTo>
                    <a:pt x="2" y="62"/>
                    <a:pt x="6" y="39"/>
                    <a:pt x="20" y="20"/>
                  </a:cubicBezTo>
                  <a:cubicBezTo>
                    <a:pt x="25" y="13"/>
                    <a:pt x="31" y="0"/>
                    <a:pt x="42" y="9"/>
                  </a:cubicBezTo>
                  <a:cubicBezTo>
                    <a:pt x="53" y="18"/>
                    <a:pt x="72" y="25"/>
                    <a:pt x="62" y="44"/>
                  </a:cubicBezTo>
                  <a:cubicBezTo>
                    <a:pt x="47" y="72"/>
                    <a:pt x="47" y="97"/>
                    <a:pt x="62" y="125"/>
                  </a:cubicBezTo>
                  <a:cubicBezTo>
                    <a:pt x="72" y="143"/>
                    <a:pt x="53" y="151"/>
                    <a:pt x="43" y="159"/>
                  </a:cubicBezTo>
                  <a:cubicBezTo>
                    <a:pt x="31" y="169"/>
                    <a:pt x="25" y="156"/>
                    <a:pt x="20" y="148"/>
                  </a:cubicBezTo>
                  <a:cubicBezTo>
                    <a:pt x="6" y="129"/>
                    <a:pt x="2" y="107"/>
                    <a:pt x="0" y="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en-GB" noProof="0" dirty="0"/>
            </a:p>
          </p:txBody>
        </p:sp>
      </p:grpSp>
      <p:sp>
        <p:nvSpPr>
          <p:cNvPr id="6" name="Title 1">
            <a:extLst>
              <a:ext uri="{FF2B5EF4-FFF2-40B4-BE49-F238E27FC236}">
                <a16:creationId xmlns:a16="http://schemas.microsoft.com/office/drawing/2014/main" id="{B70E2287-0F7B-4DD3-A805-DB19BBF3C716}"/>
              </a:ext>
            </a:extLst>
          </p:cNvPr>
          <p:cNvSpPr>
            <a:spLocks noGrp="1"/>
          </p:cNvSpPr>
          <p:nvPr>
            <p:ph type="title"/>
          </p:nvPr>
        </p:nvSpPr>
        <p:spPr>
          <a:xfrm>
            <a:off x="515938" y="246621"/>
            <a:ext cx="11150600" cy="920336"/>
          </a:xfrm>
        </p:spPr>
        <p:txBody>
          <a:bodyPr lIns="0" tIns="0" rIns="0" bIns="0" rtlCol="0" anchor="b">
            <a:noAutofit/>
          </a:bodyPr>
          <a:lstStyle>
            <a:lvl1pPr>
              <a:defRPr sz="3200" b="1" cap="all" baseline="0"/>
            </a:lvl1pPr>
          </a:lstStyle>
          <a:p>
            <a:pPr rtl="0"/>
            <a:r>
              <a:rPr lang="en-US" noProof="0"/>
              <a:t>Click to edit Master title style</a:t>
            </a:r>
            <a:endParaRPr lang="en-GB" noProof="0" dirty="0"/>
          </a:p>
        </p:txBody>
      </p:sp>
      <p:sp>
        <p:nvSpPr>
          <p:cNvPr id="7" name="Rectangle 6">
            <a:extLst>
              <a:ext uri="{FF2B5EF4-FFF2-40B4-BE49-F238E27FC236}">
                <a16:creationId xmlns:a16="http://schemas.microsoft.com/office/drawing/2014/main" id="{8DCE74CE-BEFF-42B3-BF3E-C41B1B1F1EE4}"/>
              </a:ext>
            </a:extLst>
          </p:cNvPr>
          <p:cNvSpPr/>
          <p:nvPr userDrawn="1"/>
        </p:nvSpPr>
        <p:spPr>
          <a:xfrm rot="10800000">
            <a:off x="515938" y="-16721"/>
            <a:ext cx="1258618" cy="11050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noProof="0" dirty="0">
              <a:solidFill>
                <a:schemeClr val="bg1"/>
              </a:solidFill>
            </a:endParaRPr>
          </a:p>
        </p:txBody>
      </p:sp>
      <p:pic>
        <p:nvPicPr>
          <p:cNvPr id="8" name="Picture 7">
            <a:extLst>
              <a:ext uri="{FF2B5EF4-FFF2-40B4-BE49-F238E27FC236}">
                <a16:creationId xmlns:a16="http://schemas.microsoft.com/office/drawing/2014/main" id="{8B0944B4-FE4A-459A-85B1-3476FE6C4C49}"/>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472046" y="6261436"/>
            <a:ext cx="1073019" cy="414000"/>
          </a:xfrm>
          <a:prstGeom prst="rect">
            <a:avLst/>
          </a:prstGeom>
        </p:spPr>
      </p:pic>
      <p:sp>
        <p:nvSpPr>
          <p:cNvPr id="9" name="Oval 8">
            <a:extLst>
              <a:ext uri="{FF2B5EF4-FFF2-40B4-BE49-F238E27FC236}">
                <a16:creationId xmlns:a16="http://schemas.microsoft.com/office/drawing/2014/main" id="{1B26B4BC-3D52-4C1C-85FB-226F0B5201F1}"/>
              </a:ext>
            </a:extLst>
          </p:cNvPr>
          <p:cNvSpPr/>
          <p:nvPr userDrawn="1"/>
        </p:nvSpPr>
        <p:spPr>
          <a:xfrm>
            <a:off x="11371669" y="6409397"/>
            <a:ext cx="280051" cy="280051"/>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noProof="0" dirty="0"/>
          </a:p>
        </p:txBody>
      </p:sp>
      <p:sp>
        <p:nvSpPr>
          <p:cNvPr id="10" name="Slide Number Placeholder 5">
            <a:extLst>
              <a:ext uri="{FF2B5EF4-FFF2-40B4-BE49-F238E27FC236}">
                <a16:creationId xmlns:a16="http://schemas.microsoft.com/office/drawing/2014/main" id="{CEC6B25A-6AA2-46A7-84BE-5C907CA51B02}"/>
              </a:ext>
            </a:extLst>
          </p:cNvPr>
          <p:cNvSpPr>
            <a:spLocks noGrp="1"/>
          </p:cNvSpPr>
          <p:nvPr>
            <p:ph type="sldNum" sz="quarter" idx="12"/>
          </p:nvPr>
        </p:nvSpPr>
        <p:spPr>
          <a:xfrm>
            <a:off x="11363696" y="6455739"/>
            <a:ext cx="294460" cy="187367"/>
          </a:xfrm>
        </p:spPr>
        <p:txBody>
          <a:bodyPr lIns="0" tIns="0" rIns="0" bIns="0" rtlCol="0"/>
          <a:lstStyle>
            <a:lvl1pPr algn="ctr">
              <a:defRPr sz="900">
                <a:solidFill>
                  <a:schemeClr val="bg1"/>
                </a:solidFill>
                <a:latin typeface="+mn-lt"/>
              </a:defRPr>
            </a:lvl1pPr>
          </a:lstStyle>
          <a:p>
            <a:pPr rtl="0"/>
            <a:fld id="{9EC71654-96A5-4280-94F3-931C61A9F92C}" type="slidenum">
              <a:rPr lang="en-GB" noProof="0" smtClean="0"/>
              <a:pPr/>
              <a:t>‹#›</a:t>
            </a:fld>
            <a:endParaRPr lang="en-GB" noProof="0" dirty="0"/>
          </a:p>
        </p:txBody>
      </p:sp>
    </p:spTree>
    <p:extLst>
      <p:ext uri="{BB962C8B-B14F-4D97-AF65-F5344CB8AC3E}">
        <p14:creationId xmlns:p14="http://schemas.microsoft.com/office/powerpoint/2010/main" val="156476069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eam Slide">
    <p:spTree>
      <p:nvGrpSpPr>
        <p:cNvPr id="1" name=""/>
        <p:cNvGrpSpPr/>
        <p:nvPr/>
      </p:nvGrpSpPr>
      <p:grpSpPr>
        <a:xfrm>
          <a:off x="0" y="0"/>
          <a:ext cx="0" cy="0"/>
          <a:chOff x="0" y="0"/>
          <a:chExt cx="0" cy="0"/>
        </a:xfrm>
      </p:grpSpPr>
      <p:grpSp>
        <p:nvGrpSpPr>
          <p:cNvPr id="35" name="Group 34">
            <a:extLst>
              <a:ext uri="{FF2B5EF4-FFF2-40B4-BE49-F238E27FC236}">
                <a16:creationId xmlns:a16="http://schemas.microsoft.com/office/drawing/2014/main" id="{431CD316-21C7-4FA9-A45A-374D6AE71ED5}"/>
              </a:ext>
            </a:extLst>
          </p:cNvPr>
          <p:cNvGrpSpPr/>
          <p:nvPr userDrawn="1"/>
        </p:nvGrpSpPr>
        <p:grpSpPr>
          <a:xfrm rot="8650774" flipH="1" flipV="1">
            <a:off x="7430044" y="-1843126"/>
            <a:ext cx="4436224" cy="5482435"/>
            <a:chOff x="11114088" y="2241550"/>
            <a:chExt cx="1905000" cy="2354263"/>
          </a:xfrm>
          <a:solidFill>
            <a:schemeClr val="bg2">
              <a:alpha val="53000"/>
            </a:schemeClr>
          </a:solidFill>
        </p:grpSpPr>
        <p:sp>
          <p:nvSpPr>
            <p:cNvPr id="36" name="Freeform 5">
              <a:extLst>
                <a:ext uri="{FF2B5EF4-FFF2-40B4-BE49-F238E27FC236}">
                  <a16:creationId xmlns:a16="http://schemas.microsoft.com/office/drawing/2014/main" id="{E107D9FB-3967-4583-A9DA-6787AF71202C}"/>
                </a:ext>
              </a:extLst>
            </p:cNvPr>
            <p:cNvSpPr>
              <a:spLocks/>
            </p:cNvSpPr>
            <p:nvPr/>
          </p:nvSpPr>
          <p:spPr bwMode="auto">
            <a:xfrm>
              <a:off x="11114088" y="2241550"/>
              <a:ext cx="1905000" cy="2354263"/>
            </a:xfrm>
            <a:custGeom>
              <a:avLst/>
              <a:gdLst>
                <a:gd name="T0" fmla="*/ 0 w 447"/>
                <a:gd name="T1" fmla="*/ 264 h 553"/>
                <a:gd name="T2" fmla="*/ 141 w 447"/>
                <a:gd name="T3" fmla="*/ 48 h 553"/>
                <a:gd name="T4" fmla="*/ 414 w 447"/>
                <a:gd name="T5" fmla="*/ 67 h 553"/>
                <a:gd name="T6" fmla="*/ 438 w 447"/>
                <a:gd name="T7" fmla="*/ 98 h 553"/>
                <a:gd name="T8" fmla="*/ 391 w 447"/>
                <a:gd name="T9" fmla="*/ 111 h 553"/>
                <a:gd name="T10" fmla="*/ 94 w 447"/>
                <a:gd name="T11" fmla="*/ 149 h 553"/>
                <a:gd name="T12" fmla="*/ 107 w 447"/>
                <a:gd name="T13" fmla="*/ 424 h 553"/>
                <a:gd name="T14" fmla="*/ 383 w 447"/>
                <a:gd name="T15" fmla="*/ 453 h 553"/>
                <a:gd name="T16" fmla="*/ 393 w 447"/>
                <a:gd name="T17" fmla="*/ 446 h 553"/>
                <a:gd name="T18" fmla="*/ 433 w 447"/>
                <a:gd name="T19" fmla="*/ 449 h 553"/>
                <a:gd name="T20" fmla="*/ 421 w 447"/>
                <a:gd name="T21" fmla="*/ 485 h 553"/>
                <a:gd name="T22" fmla="*/ 194 w 447"/>
                <a:gd name="T23" fmla="*/ 531 h 553"/>
                <a:gd name="T24" fmla="*/ 0 w 447"/>
                <a:gd name="T25" fmla="*/ 264 h 5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7" h="553">
                  <a:moveTo>
                    <a:pt x="0" y="264"/>
                  </a:moveTo>
                  <a:cubicBezTo>
                    <a:pt x="5" y="176"/>
                    <a:pt x="49" y="96"/>
                    <a:pt x="141" y="48"/>
                  </a:cubicBezTo>
                  <a:cubicBezTo>
                    <a:pt x="235" y="0"/>
                    <a:pt x="327" y="9"/>
                    <a:pt x="414" y="67"/>
                  </a:cubicBezTo>
                  <a:cubicBezTo>
                    <a:pt x="425" y="75"/>
                    <a:pt x="439" y="82"/>
                    <a:pt x="438" y="98"/>
                  </a:cubicBezTo>
                  <a:cubicBezTo>
                    <a:pt x="437" y="120"/>
                    <a:pt x="413" y="127"/>
                    <a:pt x="391" y="111"/>
                  </a:cubicBezTo>
                  <a:cubicBezTo>
                    <a:pt x="294" y="40"/>
                    <a:pt x="166" y="56"/>
                    <a:pt x="94" y="149"/>
                  </a:cubicBezTo>
                  <a:cubicBezTo>
                    <a:pt x="30" y="231"/>
                    <a:pt x="36" y="349"/>
                    <a:pt x="107" y="424"/>
                  </a:cubicBezTo>
                  <a:cubicBezTo>
                    <a:pt x="180" y="502"/>
                    <a:pt x="296" y="514"/>
                    <a:pt x="383" y="453"/>
                  </a:cubicBezTo>
                  <a:cubicBezTo>
                    <a:pt x="386" y="451"/>
                    <a:pt x="390" y="449"/>
                    <a:pt x="393" y="446"/>
                  </a:cubicBezTo>
                  <a:cubicBezTo>
                    <a:pt x="407" y="433"/>
                    <a:pt x="420" y="433"/>
                    <a:pt x="433" y="449"/>
                  </a:cubicBezTo>
                  <a:cubicBezTo>
                    <a:pt x="447" y="467"/>
                    <a:pt x="433" y="477"/>
                    <a:pt x="421" y="485"/>
                  </a:cubicBezTo>
                  <a:cubicBezTo>
                    <a:pt x="353" y="537"/>
                    <a:pt x="277" y="553"/>
                    <a:pt x="194" y="531"/>
                  </a:cubicBezTo>
                  <a:cubicBezTo>
                    <a:pt x="79" y="501"/>
                    <a:pt x="1" y="397"/>
                    <a:pt x="0" y="26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en-GB" noProof="0" dirty="0"/>
            </a:p>
          </p:txBody>
        </p:sp>
        <p:sp>
          <p:nvSpPr>
            <p:cNvPr id="37" name="Freeform 6">
              <a:extLst>
                <a:ext uri="{FF2B5EF4-FFF2-40B4-BE49-F238E27FC236}">
                  <a16:creationId xmlns:a16="http://schemas.microsoft.com/office/drawing/2014/main" id="{138D5FEB-37FF-4F26-B625-CE2BE91FF21B}"/>
                </a:ext>
              </a:extLst>
            </p:cNvPr>
            <p:cNvSpPr>
              <a:spLocks/>
            </p:cNvSpPr>
            <p:nvPr/>
          </p:nvSpPr>
          <p:spPr bwMode="auto">
            <a:xfrm>
              <a:off x="11412538" y="2590800"/>
              <a:ext cx="835025" cy="1673225"/>
            </a:xfrm>
            <a:custGeom>
              <a:avLst/>
              <a:gdLst>
                <a:gd name="T0" fmla="*/ 0 w 196"/>
                <a:gd name="T1" fmla="*/ 198 h 393"/>
                <a:gd name="T2" fmla="*/ 157 w 196"/>
                <a:gd name="T3" fmla="*/ 8 h 393"/>
                <a:gd name="T4" fmla="*/ 192 w 196"/>
                <a:gd name="T5" fmla="*/ 22 h 393"/>
                <a:gd name="T6" fmla="*/ 167 w 196"/>
                <a:gd name="T7" fmla="*/ 56 h 393"/>
                <a:gd name="T8" fmla="*/ 48 w 196"/>
                <a:gd name="T9" fmla="*/ 198 h 393"/>
                <a:gd name="T10" fmla="*/ 170 w 196"/>
                <a:gd name="T11" fmla="*/ 339 h 393"/>
                <a:gd name="T12" fmla="*/ 193 w 196"/>
                <a:gd name="T13" fmla="*/ 372 h 393"/>
                <a:gd name="T14" fmla="*/ 160 w 196"/>
                <a:gd name="T15" fmla="*/ 387 h 393"/>
                <a:gd name="T16" fmla="*/ 0 w 196"/>
                <a:gd name="T17" fmla="*/ 198 h 3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6" h="393">
                  <a:moveTo>
                    <a:pt x="0" y="198"/>
                  </a:moveTo>
                  <a:cubicBezTo>
                    <a:pt x="0" y="103"/>
                    <a:pt x="64" y="26"/>
                    <a:pt x="157" y="8"/>
                  </a:cubicBezTo>
                  <a:cubicBezTo>
                    <a:pt x="171" y="6"/>
                    <a:pt x="188" y="0"/>
                    <a:pt x="192" y="22"/>
                  </a:cubicBezTo>
                  <a:cubicBezTo>
                    <a:pt x="196" y="41"/>
                    <a:pt x="190" y="52"/>
                    <a:pt x="167" y="56"/>
                  </a:cubicBezTo>
                  <a:cubicBezTo>
                    <a:pt x="95" y="70"/>
                    <a:pt x="47" y="129"/>
                    <a:pt x="48" y="198"/>
                  </a:cubicBezTo>
                  <a:cubicBezTo>
                    <a:pt x="48" y="267"/>
                    <a:pt x="97" y="325"/>
                    <a:pt x="170" y="339"/>
                  </a:cubicBezTo>
                  <a:cubicBezTo>
                    <a:pt x="191" y="343"/>
                    <a:pt x="195" y="354"/>
                    <a:pt x="193" y="372"/>
                  </a:cubicBezTo>
                  <a:cubicBezTo>
                    <a:pt x="190" y="393"/>
                    <a:pt x="174" y="389"/>
                    <a:pt x="160" y="387"/>
                  </a:cubicBezTo>
                  <a:cubicBezTo>
                    <a:pt x="70" y="375"/>
                    <a:pt x="0" y="293"/>
                    <a:pt x="0" y="19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en-GB" noProof="0" dirty="0"/>
            </a:p>
          </p:txBody>
        </p:sp>
        <p:sp>
          <p:nvSpPr>
            <p:cNvPr id="38" name="Freeform 7">
              <a:extLst>
                <a:ext uri="{FF2B5EF4-FFF2-40B4-BE49-F238E27FC236}">
                  <a16:creationId xmlns:a16="http://schemas.microsoft.com/office/drawing/2014/main" id="{6C2B67E8-673C-422C-B021-296E2E2B952D}"/>
                </a:ext>
              </a:extLst>
            </p:cNvPr>
            <p:cNvSpPr>
              <a:spLocks/>
            </p:cNvSpPr>
            <p:nvPr/>
          </p:nvSpPr>
          <p:spPr bwMode="auto">
            <a:xfrm>
              <a:off x="11728451" y="3071813"/>
              <a:ext cx="306388" cy="719138"/>
            </a:xfrm>
            <a:custGeom>
              <a:avLst/>
              <a:gdLst>
                <a:gd name="T0" fmla="*/ 0 w 72"/>
                <a:gd name="T1" fmla="*/ 84 h 169"/>
                <a:gd name="T2" fmla="*/ 20 w 72"/>
                <a:gd name="T3" fmla="*/ 20 h 169"/>
                <a:gd name="T4" fmla="*/ 42 w 72"/>
                <a:gd name="T5" fmla="*/ 9 h 169"/>
                <a:gd name="T6" fmla="*/ 62 w 72"/>
                <a:gd name="T7" fmla="*/ 44 h 169"/>
                <a:gd name="T8" fmla="*/ 62 w 72"/>
                <a:gd name="T9" fmla="*/ 125 h 169"/>
                <a:gd name="T10" fmla="*/ 43 w 72"/>
                <a:gd name="T11" fmla="*/ 159 h 169"/>
                <a:gd name="T12" fmla="*/ 20 w 72"/>
                <a:gd name="T13" fmla="*/ 148 h 169"/>
                <a:gd name="T14" fmla="*/ 0 w 72"/>
                <a:gd name="T15" fmla="*/ 84 h 16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2" h="169">
                  <a:moveTo>
                    <a:pt x="0" y="84"/>
                  </a:moveTo>
                  <a:cubicBezTo>
                    <a:pt x="2" y="62"/>
                    <a:pt x="6" y="39"/>
                    <a:pt x="20" y="20"/>
                  </a:cubicBezTo>
                  <a:cubicBezTo>
                    <a:pt x="25" y="13"/>
                    <a:pt x="31" y="0"/>
                    <a:pt x="42" y="9"/>
                  </a:cubicBezTo>
                  <a:cubicBezTo>
                    <a:pt x="53" y="18"/>
                    <a:pt x="72" y="25"/>
                    <a:pt x="62" y="44"/>
                  </a:cubicBezTo>
                  <a:cubicBezTo>
                    <a:pt x="47" y="72"/>
                    <a:pt x="47" y="97"/>
                    <a:pt x="62" y="125"/>
                  </a:cubicBezTo>
                  <a:cubicBezTo>
                    <a:pt x="72" y="143"/>
                    <a:pt x="53" y="151"/>
                    <a:pt x="43" y="159"/>
                  </a:cubicBezTo>
                  <a:cubicBezTo>
                    <a:pt x="31" y="169"/>
                    <a:pt x="25" y="156"/>
                    <a:pt x="20" y="148"/>
                  </a:cubicBezTo>
                  <a:cubicBezTo>
                    <a:pt x="6" y="129"/>
                    <a:pt x="2" y="107"/>
                    <a:pt x="0" y="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en-GB" noProof="0" dirty="0"/>
            </a:p>
          </p:txBody>
        </p:sp>
      </p:grpSp>
      <p:sp>
        <p:nvSpPr>
          <p:cNvPr id="23" name="Oval 22">
            <a:extLst>
              <a:ext uri="{FF2B5EF4-FFF2-40B4-BE49-F238E27FC236}">
                <a16:creationId xmlns:a16="http://schemas.microsoft.com/office/drawing/2014/main" id="{687010E4-ADF2-486D-8DF7-B0FF38C6DADF}"/>
              </a:ext>
            </a:extLst>
          </p:cNvPr>
          <p:cNvSpPr/>
          <p:nvPr userDrawn="1"/>
        </p:nvSpPr>
        <p:spPr>
          <a:xfrm>
            <a:off x="954140" y="1698469"/>
            <a:ext cx="1729332" cy="1729332"/>
          </a:xfrm>
          <a:prstGeom prst="ellipse">
            <a:avLst/>
          </a:prstGeom>
          <a:solidFill>
            <a:schemeClr val="tx1">
              <a:alpha val="1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noProof="0" dirty="0"/>
          </a:p>
        </p:txBody>
      </p:sp>
      <p:sp>
        <p:nvSpPr>
          <p:cNvPr id="24" name="Oval 23">
            <a:extLst>
              <a:ext uri="{FF2B5EF4-FFF2-40B4-BE49-F238E27FC236}">
                <a16:creationId xmlns:a16="http://schemas.microsoft.com/office/drawing/2014/main" id="{9159AA79-2237-4A27-BBC2-D44032158D19}"/>
              </a:ext>
            </a:extLst>
          </p:cNvPr>
          <p:cNvSpPr/>
          <p:nvPr userDrawn="1"/>
        </p:nvSpPr>
        <p:spPr>
          <a:xfrm>
            <a:off x="3807539" y="1698469"/>
            <a:ext cx="1729332" cy="1729332"/>
          </a:xfrm>
          <a:prstGeom prst="ellipse">
            <a:avLst/>
          </a:prstGeom>
          <a:solidFill>
            <a:schemeClr val="tx1">
              <a:alpha val="1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noProof="0" dirty="0"/>
          </a:p>
        </p:txBody>
      </p:sp>
      <p:sp>
        <p:nvSpPr>
          <p:cNvPr id="25" name="Oval 24">
            <a:extLst>
              <a:ext uri="{FF2B5EF4-FFF2-40B4-BE49-F238E27FC236}">
                <a16:creationId xmlns:a16="http://schemas.microsoft.com/office/drawing/2014/main" id="{0272B962-9566-42D2-B4C3-E7AA81884A83}"/>
              </a:ext>
            </a:extLst>
          </p:cNvPr>
          <p:cNvSpPr/>
          <p:nvPr userDrawn="1"/>
        </p:nvSpPr>
        <p:spPr>
          <a:xfrm>
            <a:off x="6646275" y="1698469"/>
            <a:ext cx="1729332" cy="1729332"/>
          </a:xfrm>
          <a:prstGeom prst="ellipse">
            <a:avLst/>
          </a:prstGeom>
          <a:solidFill>
            <a:schemeClr val="tx1">
              <a:alpha val="1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noProof="0" dirty="0"/>
          </a:p>
        </p:txBody>
      </p:sp>
      <p:sp>
        <p:nvSpPr>
          <p:cNvPr id="26" name="Oval 25">
            <a:extLst>
              <a:ext uri="{FF2B5EF4-FFF2-40B4-BE49-F238E27FC236}">
                <a16:creationId xmlns:a16="http://schemas.microsoft.com/office/drawing/2014/main" id="{19733285-016C-4C38-816C-83D30C075C70}"/>
              </a:ext>
            </a:extLst>
          </p:cNvPr>
          <p:cNvSpPr/>
          <p:nvPr userDrawn="1"/>
        </p:nvSpPr>
        <p:spPr>
          <a:xfrm>
            <a:off x="9498658" y="1698469"/>
            <a:ext cx="1729332" cy="1729332"/>
          </a:xfrm>
          <a:prstGeom prst="ellipse">
            <a:avLst/>
          </a:prstGeom>
          <a:solidFill>
            <a:schemeClr val="tx1">
              <a:alpha val="1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noProof="0" dirty="0"/>
          </a:p>
        </p:txBody>
      </p:sp>
      <p:sp>
        <p:nvSpPr>
          <p:cNvPr id="20" name="Freeform: Shape 19">
            <a:extLst>
              <a:ext uri="{FF2B5EF4-FFF2-40B4-BE49-F238E27FC236}">
                <a16:creationId xmlns:a16="http://schemas.microsoft.com/office/drawing/2014/main" id="{EF40DBA4-AB63-4B47-B37F-BCC3D59B5392}"/>
              </a:ext>
            </a:extLst>
          </p:cNvPr>
          <p:cNvSpPr/>
          <p:nvPr userDrawn="1"/>
        </p:nvSpPr>
        <p:spPr>
          <a:xfrm>
            <a:off x="4011967" y="1778212"/>
            <a:ext cx="1320476" cy="362088"/>
          </a:xfrm>
          <a:custGeom>
            <a:avLst/>
            <a:gdLst>
              <a:gd name="connsiteX0" fmla="*/ 660238 w 1320476"/>
              <a:gd name="connsiteY0" fmla="*/ 0 h 362088"/>
              <a:gd name="connsiteX1" fmla="*/ 1312051 w 1320476"/>
              <a:gd name="connsiteY1" fmla="*/ 346566 h 362088"/>
              <a:gd name="connsiteX2" fmla="*/ 1320476 w 1320476"/>
              <a:gd name="connsiteY2" fmla="*/ 362088 h 362088"/>
              <a:gd name="connsiteX3" fmla="*/ 0 w 1320476"/>
              <a:gd name="connsiteY3" fmla="*/ 362088 h 362088"/>
              <a:gd name="connsiteX4" fmla="*/ 8425 w 1320476"/>
              <a:gd name="connsiteY4" fmla="*/ 346566 h 362088"/>
              <a:gd name="connsiteX5" fmla="*/ 660238 w 1320476"/>
              <a:gd name="connsiteY5" fmla="*/ 0 h 3620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20476" h="362088">
                <a:moveTo>
                  <a:pt x="660238" y="0"/>
                </a:moveTo>
                <a:cubicBezTo>
                  <a:pt x="931569" y="0"/>
                  <a:pt x="1170791" y="137473"/>
                  <a:pt x="1312051" y="346566"/>
                </a:cubicBezTo>
                <a:lnTo>
                  <a:pt x="1320476" y="362088"/>
                </a:lnTo>
                <a:lnTo>
                  <a:pt x="0" y="362088"/>
                </a:lnTo>
                <a:lnTo>
                  <a:pt x="8425" y="346566"/>
                </a:lnTo>
                <a:cubicBezTo>
                  <a:pt x="149685" y="137473"/>
                  <a:pt x="388907" y="0"/>
                  <a:pt x="660238" y="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noProof="0" dirty="0"/>
          </a:p>
        </p:txBody>
      </p:sp>
      <p:sp>
        <p:nvSpPr>
          <p:cNvPr id="21" name="Freeform: Shape 20">
            <a:extLst>
              <a:ext uri="{FF2B5EF4-FFF2-40B4-BE49-F238E27FC236}">
                <a16:creationId xmlns:a16="http://schemas.microsoft.com/office/drawing/2014/main" id="{33EF0AFB-D099-4FF1-8963-7DA87268867F}"/>
              </a:ext>
            </a:extLst>
          </p:cNvPr>
          <p:cNvSpPr/>
          <p:nvPr userDrawn="1"/>
        </p:nvSpPr>
        <p:spPr>
          <a:xfrm>
            <a:off x="6850703" y="1778212"/>
            <a:ext cx="1320476" cy="362088"/>
          </a:xfrm>
          <a:custGeom>
            <a:avLst/>
            <a:gdLst>
              <a:gd name="connsiteX0" fmla="*/ 660238 w 1320476"/>
              <a:gd name="connsiteY0" fmla="*/ 0 h 362088"/>
              <a:gd name="connsiteX1" fmla="*/ 1312051 w 1320476"/>
              <a:gd name="connsiteY1" fmla="*/ 346566 h 362088"/>
              <a:gd name="connsiteX2" fmla="*/ 1320476 w 1320476"/>
              <a:gd name="connsiteY2" fmla="*/ 362088 h 362088"/>
              <a:gd name="connsiteX3" fmla="*/ 0 w 1320476"/>
              <a:gd name="connsiteY3" fmla="*/ 362088 h 362088"/>
              <a:gd name="connsiteX4" fmla="*/ 8425 w 1320476"/>
              <a:gd name="connsiteY4" fmla="*/ 346566 h 362088"/>
              <a:gd name="connsiteX5" fmla="*/ 660238 w 1320476"/>
              <a:gd name="connsiteY5" fmla="*/ 0 h 3620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20476" h="362088">
                <a:moveTo>
                  <a:pt x="660238" y="0"/>
                </a:moveTo>
                <a:cubicBezTo>
                  <a:pt x="931569" y="0"/>
                  <a:pt x="1170791" y="137473"/>
                  <a:pt x="1312051" y="346566"/>
                </a:cubicBezTo>
                <a:lnTo>
                  <a:pt x="1320476" y="362088"/>
                </a:lnTo>
                <a:lnTo>
                  <a:pt x="0" y="362088"/>
                </a:lnTo>
                <a:lnTo>
                  <a:pt x="8425" y="346566"/>
                </a:lnTo>
                <a:cubicBezTo>
                  <a:pt x="149685" y="137473"/>
                  <a:pt x="388907" y="0"/>
                  <a:pt x="660238" y="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noProof="0" dirty="0"/>
          </a:p>
        </p:txBody>
      </p:sp>
      <p:sp>
        <p:nvSpPr>
          <p:cNvPr id="22" name="Freeform: Shape 21">
            <a:extLst>
              <a:ext uri="{FF2B5EF4-FFF2-40B4-BE49-F238E27FC236}">
                <a16:creationId xmlns:a16="http://schemas.microsoft.com/office/drawing/2014/main" id="{6872C96E-9AF3-4FA0-8180-C213C7F2209E}"/>
              </a:ext>
            </a:extLst>
          </p:cNvPr>
          <p:cNvSpPr/>
          <p:nvPr userDrawn="1"/>
        </p:nvSpPr>
        <p:spPr>
          <a:xfrm>
            <a:off x="9703086" y="1778212"/>
            <a:ext cx="1320476" cy="362088"/>
          </a:xfrm>
          <a:custGeom>
            <a:avLst/>
            <a:gdLst>
              <a:gd name="connsiteX0" fmla="*/ 660238 w 1320476"/>
              <a:gd name="connsiteY0" fmla="*/ 0 h 362088"/>
              <a:gd name="connsiteX1" fmla="*/ 1312051 w 1320476"/>
              <a:gd name="connsiteY1" fmla="*/ 346566 h 362088"/>
              <a:gd name="connsiteX2" fmla="*/ 1320476 w 1320476"/>
              <a:gd name="connsiteY2" fmla="*/ 362088 h 362088"/>
              <a:gd name="connsiteX3" fmla="*/ 0 w 1320476"/>
              <a:gd name="connsiteY3" fmla="*/ 362088 h 362088"/>
              <a:gd name="connsiteX4" fmla="*/ 8425 w 1320476"/>
              <a:gd name="connsiteY4" fmla="*/ 346566 h 362088"/>
              <a:gd name="connsiteX5" fmla="*/ 660238 w 1320476"/>
              <a:gd name="connsiteY5" fmla="*/ 0 h 3620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20476" h="362088">
                <a:moveTo>
                  <a:pt x="660238" y="0"/>
                </a:moveTo>
                <a:cubicBezTo>
                  <a:pt x="931569" y="0"/>
                  <a:pt x="1170791" y="137473"/>
                  <a:pt x="1312051" y="346566"/>
                </a:cubicBezTo>
                <a:lnTo>
                  <a:pt x="1320476" y="362088"/>
                </a:lnTo>
                <a:lnTo>
                  <a:pt x="0" y="362088"/>
                </a:lnTo>
                <a:lnTo>
                  <a:pt x="8425" y="346566"/>
                </a:lnTo>
                <a:cubicBezTo>
                  <a:pt x="149685" y="137473"/>
                  <a:pt x="388907" y="0"/>
                  <a:pt x="660238" y="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noProof="0" dirty="0"/>
          </a:p>
        </p:txBody>
      </p:sp>
      <p:sp>
        <p:nvSpPr>
          <p:cNvPr id="17" name="Freeform: Shape 16">
            <a:extLst>
              <a:ext uri="{FF2B5EF4-FFF2-40B4-BE49-F238E27FC236}">
                <a16:creationId xmlns:a16="http://schemas.microsoft.com/office/drawing/2014/main" id="{3A08BE29-CFA5-4E0D-9DBE-A430AE1B8072}"/>
              </a:ext>
            </a:extLst>
          </p:cNvPr>
          <p:cNvSpPr/>
          <p:nvPr userDrawn="1"/>
        </p:nvSpPr>
        <p:spPr>
          <a:xfrm>
            <a:off x="1158568" y="1778212"/>
            <a:ext cx="1320476" cy="362088"/>
          </a:xfrm>
          <a:custGeom>
            <a:avLst/>
            <a:gdLst>
              <a:gd name="connsiteX0" fmla="*/ 660238 w 1320476"/>
              <a:gd name="connsiteY0" fmla="*/ 0 h 362088"/>
              <a:gd name="connsiteX1" fmla="*/ 1312051 w 1320476"/>
              <a:gd name="connsiteY1" fmla="*/ 346566 h 362088"/>
              <a:gd name="connsiteX2" fmla="*/ 1320476 w 1320476"/>
              <a:gd name="connsiteY2" fmla="*/ 362088 h 362088"/>
              <a:gd name="connsiteX3" fmla="*/ 0 w 1320476"/>
              <a:gd name="connsiteY3" fmla="*/ 362088 h 362088"/>
              <a:gd name="connsiteX4" fmla="*/ 8425 w 1320476"/>
              <a:gd name="connsiteY4" fmla="*/ 346566 h 362088"/>
              <a:gd name="connsiteX5" fmla="*/ 660238 w 1320476"/>
              <a:gd name="connsiteY5" fmla="*/ 0 h 3620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20476" h="362088">
                <a:moveTo>
                  <a:pt x="660238" y="0"/>
                </a:moveTo>
                <a:cubicBezTo>
                  <a:pt x="931569" y="0"/>
                  <a:pt x="1170791" y="137473"/>
                  <a:pt x="1312051" y="346566"/>
                </a:cubicBezTo>
                <a:lnTo>
                  <a:pt x="1320476" y="362088"/>
                </a:lnTo>
                <a:lnTo>
                  <a:pt x="0" y="362088"/>
                </a:lnTo>
                <a:lnTo>
                  <a:pt x="8425" y="346566"/>
                </a:lnTo>
                <a:cubicBezTo>
                  <a:pt x="149685" y="137473"/>
                  <a:pt x="388907" y="0"/>
                  <a:pt x="660238" y="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noProof="0" dirty="0"/>
          </a:p>
        </p:txBody>
      </p:sp>
      <p:sp>
        <p:nvSpPr>
          <p:cNvPr id="6" name="Title 1">
            <a:extLst>
              <a:ext uri="{FF2B5EF4-FFF2-40B4-BE49-F238E27FC236}">
                <a16:creationId xmlns:a16="http://schemas.microsoft.com/office/drawing/2014/main" id="{B70E2287-0F7B-4DD3-A805-DB19BBF3C716}"/>
              </a:ext>
            </a:extLst>
          </p:cNvPr>
          <p:cNvSpPr>
            <a:spLocks noGrp="1"/>
          </p:cNvSpPr>
          <p:nvPr>
            <p:ph type="title"/>
          </p:nvPr>
        </p:nvSpPr>
        <p:spPr>
          <a:xfrm>
            <a:off x="515938" y="246621"/>
            <a:ext cx="11150600" cy="920336"/>
          </a:xfrm>
        </p:spPr>
        <p:txBody>
          <a:bodyPr lIns="0" tIns="0" rIns="0" bIns="0" rtlCol="0" anchor="b">
            <a:noAutofit/>
          </a:bodyPr>
          <a:lstStyle>
            <a:lvl1pPr>
              <a:defRPr sz="3200" b="1" cap="all" baseline="0"/>
            </a:lvl1pPr>
          </a:lstStyle>
          <a:p>
            <a:pPr rtl="0"/>
            <a:r>
              <a:rPr lang="en-US" noProof="0"/>
              <a:t>Click to edit Master title style</a:t>
            </a:r>
            <a:endParaRPr lang="en-GB" noProof="0" dirty="0"/>
          </a:p>
        </p:txBody>
      </p:sp>
      <p:sp>
        <p:nvSpPr>
          <p:cNvPr id="7" name="Rectangle 6">
            <a:extLst>
              <a:ext uri="{FF2B5EF4-FFF2-40B4-BE49-F238E27FC236}">
                <a16:creationId xmlns:a16="http://schemas.microsoft.com/office/drawing/2014/main" id="{8DCE74CE-BEFF-42B3-BF3E-C41B1B1F1EE4}"/>
              </a:ext>
            </a:extLst>
          </p:cNvPr>
          <p:cNvSpPr/>
          <p:nvPr userDrawn="1"/>
        </p:nvSpPr>
        <p:spPr>
          <a:xfrm rot="10800000">
            <a:off x="515938" y="-16721"/>
            <a:ext cx="1258618" cy="11050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noProof="0" dirty="0">
              <a:solidFill>
                <a:schemeClr val="bg1"/>
              </a:solidFill>
            </a:endParaRPr>
          </a:p>
        </p:txBody>
      </p:sp>
      <p:pic>
        <p:nvPicPr>
          <p:cNvPr id="8" name="Picture 7">
            <a:extLst>
              <a:ext uri="{FF2B5EF4-FFF2-40B4-BE49-F238E27FC236}">
                <a16:creationId xmlns:a16="http://schemas.microsoft.com/office/drawing/2014/main" id="{8B0944B4-FE4A-459A-85B1-3476FE6C4C49}"/>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472046" y="6261436"/>
            <a:ext cx="1073019" cy="414000"/>
          </a:xfrm>
          <a:prstGeom prst="rect">
            <a:avLst/>
          </a:prstGeom>
        </p:spPr>
      </p:pic>
      <p:sp>
        <p:nvSpPr>
          <p:cNvPr id="9" name="Oval 8">
            <a:extLst>
              <a:ext uri="{FF2B5EF4-FFF2-40B4-BE49-F238E27FC236}">
                <a16:creationId xmlns:a16="http://schemas.microsoft.com/office/drawing/2014/main" id="{1B26B4BC-3D52-4C1C-85FB-226F0B5201F1}"/>
              </a:ext>
            </a:extLst>
          </p:cNvPr>
          <p:cNvSpPr/>
          <p:nvPr userDrawn="1"/>
        </p:nvSpPr>
        <p:spPr>
          <a:xfrm>
            <a:off x="11371669" y="6409397"/>
            <a:ext cx="280051" cy="280051"/>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noProof="0" dirty="0"/>
          </a:p>
        </p:txBody>
      </p:sp>
      <p:sp>
        <p:nvSpPr>
          <p:cNvPr id="10" name="Slide Number Placeholder 5">
            <a:extLst>
              <a:ext uri="{FF2B5EF4-FFF2-40B4-BE49-F238E27FC236}">
                <a16:creationId xmlns:a16="http://schemas.microsoft.com/office/drawing/2014/main" id="{CEC6B25A-6AA2-46A7-84BE-5C907CA51B02}"/>
              </a:ext>
            </a:extLst>
          </p:cNvPr>
          <p:cNvSpPr>
            <a:spLocks noGrp="1"/>
          </p:cNvSpPr>
          <p:nvPr>
            <p:ph type="sldNum" sz="quarter" idx="12"/>
          </p:nvPr>
        </p:nvSpPr>
        <p:spPr>
          <a:xfrm>
            <a:off x="11363696" y="6455739"/>
            <a:ext cx="294460" cy="187367"/>
          </a:xfrm>
        </p:spPr>
        <p:txBody>
          <a:bodyPr lIns="0" tIns="0" rIns="0" bIns="0" rtlCol="0"/>
          <a:lstStyle>
            <a:lvl1pPr algn="ctr">
              <a:defRPr sz="900">
                <a:solidFill>
                  <a:schemeClr val="bg1"/>
                </a:solidFill>
                <a:latin typeface="+mn-lt"/>
              </a:defRPr>
            </a:lvl1pPr>
          </a:lstStyle>
          <a:p>
            <a:pPr rtl="0"/>
            <a:fld id="{9EC71654-96A5-4280-94F3-931C61A9F92C}" type="slidenum">
              <a:rPr lang="en-GB" noProof="0" smtClean="0"/>
              <a:pPr/>
              <a:t>‹#›</a:t>
            </a:fld>
            <a:endParaRPr lang="en-GB" noProof="0" dirty="0"/>
          </a:p>
        </p:txBody>
      </p:sp>
      <p:sp>
        <p:nvSpPr>
          <p:cNvPr id="3" name="Picture Placeholder 2">
            <a:extLst>
              <a:ext uri="{FF2B5EF4-FFF2-40B4-BE49-F238E27FC236}">
                <a16:creationId xmlns:a16="http://schemas.microsoft.com/office/drawing/2014/main" id="{B1B995BE-66C2-4379-885F-4BE069DA39E4}"/>
              </a:ext>
            </a:extLst>
          </p:cNvPr>
          <p:cNvSpPr>
            <a:spLocks noGrp="1"/>
          </p:cNvSpPr>
          <p:nvPr>
            <p:ph type="pic" sz="quarter" idx="13"/>
          </p:nvPr>
        </p:nvSpPr>
        <p:spPr>
          <a:xfrm>
            <a:off x="1103638" y="1848535"/>
            <a:ext cx="1430337" cy="1430337"/>
          </a:xfrm>
          <a:prstGeom prst="ellipse">
            <a:avLst/>
          </a:prstGeom>
          <a:solidFill>
            <a:schemeClr val="bg2"/>
          </a:solidFill>
        </p:spPr>
        <p:txBody>
          <a:bodyPr rtlCol="0" anchor="ctr">
            <a:normAutofit/>
          </a:bodyPr>
          <a:lstStyle>
            <a:lvl1pPr marL="0" indent="0" algn="ctr">
              <a:buNone/>
              <a:defRPr sz="2000"/>
            </a:lvl1pPr>
          </a:lstStyle>
          <a:p>
            <a:pPr rtl="0"/>
            <a:r>
              <a:rPr lang="en-US" noProof="0"/>
              <a:t>Click icon to add picture</a:t>
            </a:r>
            <a:endParaRPr lang="en-GB" noProof="0" dirty="0"/>
          </a:p>
        </p:txBody>
      </p:sp>
      <p:sp>
        <p:nvSpPr>
          <p:cNvPr id="11" name="Picture Placeholder 2">
            <a:extLst>
              <a:ext uri="{FF2B5EF4-FFF2-40B4-BE49-F238E27FC236}">
                <a16:creationId xmlns:a16="http://schemas.microsoft.com/office/drawing/2014/main" id="{9B56B6C6-9F3C-4E80-BBAD-280E697B895C}"/>
              </a:ext>
            </a:extLst>
          </p:cNvPr>
          <p:cNvSpPr>
            <a:spLocks noGrp="1"/>
          </p:cNvSpPr>
          <p:nvPr>
            <p:ph type="pic" sz="quarter" idx="14"/>
          </p:nvPr>
        </p:nvSpPr>
        <p:spPr>
          <a:xfrm>
            <a:off x="3957037" y="1848535"/>
            <a:ext cx="1430337" cy="1430337"/>
          </a:xfrm>
          <a:prstGeom prst="ellipse">
            <a:avLst/>
          </a:prstGeom>
          <a:solidFill>
            <a:schemeClr val="bg2"/>
          </a:solidFill>
        </p:spPr>
        <p:txBody>
          <a:bodyPr rtlCol="0" anchor="ctr">
            <a:normAutofit/>
          </a:bodyPr>
          <a:lstStyle>
            <a:lvl1pPr marL="0" indent="0" algn="ctr">
              <a:buNone/>
              <a:defRPr sz="2000"/>
            </a:lvl1pPr>
          </a:lstStyle>
          <a:p>
            <a:pPr rtl="0"/>
            <a:r>
              <a:rPr lang="en-US" noProof="0"/>
              <a:t>Click icon to add picture</a:t>
            </a:r>
            <a:endParaRPr lang="en-GB" noProof="0" dirty="0"/>
          </a:p>
        </p:txBody>
      </p:sp>
      <p:sp>
        <p:nvSpPr>
          <p:cNvPr id="12" name="Picture Placeholder 2">
            <a:extLst>
              <a:ext uri="{FF2B5EF4-FFF2-40B4-BE49-F238E27FC236}">
                <a16:creationId xmlns:a16="http://schemas.microsoft.com/office/drawing/2014/main" id="{54704160-1ED7-4B90-8963-0F887C73E94D}"/>
              </a:ext>
            </a:extLst>
          </p:cNvPr>
          <p:cNvSpPr>
            <a:spLocks noGrp="1"/>
          </p:cNvSpPr>
          <p:nvPr>
            <p:ph type="pic" sz="quarter" idx="15"/>
          </p:nvPr>
        </p:nvSpPr>
        <p:spPr>
          <a:xfrm>
            <a:off x="6795773" y="1848535"/>
            <a:ext cx="1430337" cy="1430337"/>
          </a:xfrm>
          <a:prstGeom prst="ellipse">
            <a:avLst/>
          </a:prstGeom>
          <a:solidFill>
            <a:schemeClr val="bg2"/>
          </a:solidFill>
        </p:spPr>
        <p:txBody>
          <a:bodyPr rtlCol="0" anchor="ctr">
            <a:normAutofit/>
          </a:bodyPr>
          <a:lstStyle>
            <a:lvl1pPr marL="0" indent="0" algn="ctr">
              <a:buNone/>
              <a:defRPr sz="2000"/>
            </a:lvl1pPr>
          </a:lstStyle>
          <a:p>
            <a:pPr rtl="0"/>
            <a:r>
              <a:rPr lang="en-US" noProof="0"/>
              <a:t>Click icon to add picture</a:t>
            </a:r>
            <a:endParaRPr lang="en-GB" noProof="0" dirty="0"/>
          </a:p>
        </p:txBody>
      </p:sp>
      <p:sp>
        <p:nvSpPr>
          <p:cNvPr id="13" name="Picture Placeholder 2">
            <a:extLst>
              <a:ext uri="{FF2B5EF4-FFF2-40B4-BE49-F238E27FC236}">
                <a16:creationId xmlns:a16="http://schemas.microsoft.com/office/drawing/2014/main" id="{36610597-6A76-4A06-82A5-A8FFC5BAEA0F}"/>
              </a:ext>
            </a:extLst>
          </p:cNvPr>
          <p:cNvSpPr>
            <a:spLocks noGrp="1"/>
          </p:cNvSpPr>
          <p:nvPr>
            <p:ph type="pic" sz="quarter" idx="16"/>
          </p:nvPr>
        </p:nvSpPr>
        <p:spPr>
          <a:xfrm>
            <a:off x="9648156" y="1848535"/>
            <a:ext cx="1430337" cy="1430337"/>
          </a:xfrm>
          <a:prstGeom prst="ellipse">
            <a:avLst/>
          </a:prstGeom>
          <a:solidFill>
            <a:schemeClr val="bg2"/>
          </a:solidFill>
        </p:spPr>
        <p:txBody>
          <a:bodyPr rtlCol="0" anchor="ctr">
            <a:normAutofit/>
          </a:bodyPr>
          <a:lstStyle>
            <a:lvl1pPr marL="0" indent="0" algn="ctr">
              <a:buNone/>
              <a:defRPr sz="2000"/>
            </a:lvl1pPr>
          </a:lstStyle>
          <a:p>
            <a:pPr rtl="0"/>
            <a:r>
              <a:rPr lang="en-US" noProof="0"/>
              <a:t>Click icon to add picture</a:t>
            </a:r>
            <a:endParaRPr lang="en-GB" noProof="0" dirty="0"/>
          </a:p>
        </p:txBody>
      </p:sp>
      <p:sp>
        <p:nvSpPr>
          <p:cNvPr id="27" name="Content Placeholder 2">
            <a:extLst>
              <a:ext uri="{FF2B5EF4-FFF2-40B4-BE49-F238E27FC236}">
                <a16:creationId xmlns:a16="http://schemas.microsoft.com/office/drawing/2014/main" id="{FF56D2E5-86E4-473A-A62F-B7029E5B2558}"/>
              </a:ext>
            </a:extLst>
          </p:cNvPr>
          <p:cNvSpPr>
            <a:spLocks noGrp="1"/>
          </p:cNvSpPr>
          <p:nvPr>
            <p:ph idx="1"/>
          </p:nvPr>
        </p:nvSpPr>
        <p:spPr>
          <a:xfrm>
            <a:off x="524454" y="4052306"/>
            <a:ext cx="2588705" cy="1749005"/>
          </a:xfrm>
        </p:spPr>
        <p:txBody>
          <a:bodyPr lIns="0" tIns="0" rIns="0" bIns="0" rtlCol="0">
            <a:noAutofit/>
          </a:bodyPr>
          <a:lstStyle>
            <a:lvl1pPr marL="0" indent="0" algn="ctr">
              <a:buNone/>
              <a:defRPr sz="16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stStyle>
          <a:p>
            <a:pPr lvl="0" rtl="0"/>
            <a:r>
              <a:rPr lang="en-US" noProof="0"/>
              <a:t>Click to edit Master text styles</a:t>
            </a:r>
          </a:p>
        </p:txBody>
      </p:sp>
      <p:sp>
        <p:nvSpPr>
          <p:cNvPr id="28" name="Content Placeholder 2">
            <a:extLst>
              <a:ext uri="{FF2B5EF4-FFF2-40B4-BE49-F238E27FC236}">
                <a16:creationId xmlns:a16="http://schemas.microsoft.com/office/drawing/2014/main" id="{93934E34-6CC7-492D-9515-EBEC72EFF4CB}"/>
              </a:ext>
            </a:extLst>
          </p:cNvPr>
          <p:cNvSpPr>
            <a:spLocks noGrp="1"/>
          </p:cNvSpPr>
          <p:nvPr>
            <p:ph idx="17" hasCustomPrompt="1"/>
          </p:nvPr>
        </p:nvSpPr>
        <p:spPr>
          <a:xfrm>
            <a:off x="524454" y="3539268"/>
            <a:ext cx="2588705" cy="495389"/>
          </a:xfrm>
        </p:spPr>
        <p:txBody>
          <a:bodyPr lIns="0" tIns="0" rIns="0" bIns="0" rtlCol="0" anchor="ctr">
            <a:noAutofit/>
          </a:bodyPr>
          <a:lstStyle>
            <a:lvl1pPr marL="0" indent="0" algn="ctr">
              <a:buNone/>
              <a:defRPr sz="1600" b="1" cap="all" baseline="0">
                <a:solidFill>
                  <a:srgbClr val="0D1D5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stStyle>
          <a:p>
            <a:pPr lvl="0" rtl="0"/>
            <a:r>
              <a:rPr lang="en-GB" noProof="0" dirty="0"/>
              <a:t>Executive 01</a:t>
            </a:r>
          </a:p>
        </p:txBody>
      </p:sp>
      <p:sp>
        <p:nvSpPr>
          <p:cNvPr id="29" name="Content Placeholder 2">
            <a:extLst>
              <a:ext uri="{FF2B5EF4-FFF2-40B4-BE49-F238E27FC236}">
                <a16:creationId xmlns:a16="http://schemas.microsoft.com/office/drawing/2014/main" id="{E4E27467-A1AA-4773-AAB5-A96267FBD712}"/>
              </a:ext>
            </a:extLst>
          </p:cNvPr>
          <p:cNvSpPr>
            <a:spLocks noGrp="1"/>
          </p:cNvSpPr>
          <p:nvPr>
            <p:ph idx="18"/>
          </p:nvPr>
        </p:nvSpPr>
        <p:spPr>
          <a:xfrm>
            <a:off x="3377853" y="4052306"/>
            <a:ext cx="2588705" cy="1749005"/>
          </a:xfrm>
        </p:spPr>
        <p:txBody>
          <a:bodyPr lIns="0" tIns="0" rIns="0" bIns="0" rtlCol="0">
            <a:noAutofit/>
          </a:bodyPr>
          <a:lstStyle>
            <a:lvl1pPr marL="0" indent="0" algn="ctr">
              <a:buNone/>
              <a:defRPr sz="16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stStyle>
          <a:p>
            <a:pPr lvl="0" rtl="0"/>
            <a:r>
              <a:rPr lang="en-US" noProof="0"/>
              <a:t>Click to edit Master text styles</a:t>
            </a:r>
          </a:p>
        </p:txBody>
      </p:sp>
      <p:sp>
        <p:nvSpPr>
          <p:cNvPr id="30" name="Content Placeholder 2">
            <a:extLst>
              <a:ext uri="{FF2B5EF4-FFF2-40B4-BE49-F238E27FC236}">
                <a16:creationId xmlns:a16="http://schemas.microsoft.com/office/drawing/2014/main" id="{6CABD5EB-4A8B-448B-8ED1-B8B420815B2D}"/>
              </a:ext>
            </a:extLst>
          </p:cNvPr>
          <p:cNvSpPr>
            <a:spLocks noGrp="1"/>
          </p:cNvSpPr>
          <p:nvPr>
            <p:ph idx="19" hasCustomPrompt="1"/>
          </p:nvPr>
        </p:nvSpPr>
        <p:spPr>
          <a:xfrm>
            <a:off x="3377853" y="3539268"/>
            <a:ext cx="2588705" cy="495389"/>
          </a:xfrm>
        </p:spPr>
        <p:txBody>
          <a:bodyPr lIns="0" tIns="0" rIns="0" bIns="0" rtlCol="0" anchor="ctr">
            <a:noAutofit/>
          </a:bodyPr>
          <a:lstStyle>
            <a:lvl1pPr marL="0" indent="0" algn="ctr">
              <a:buNone/>
              <a:defRPr sz="1600" b="1" cap="all" baseline="0">
                <a:solidFill>
                  <a:srgbClr val="0D1D5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stStyle>
          <a:p>
            <a:pPr lvl="0" rtl="0"/>
            <a:r>
              <a:rPr lang="en-GB" noProof="0" dirty="0"/>
              <a:t>Executive 01</a:t>
            </a:r>
          </a:p>
        </p:txBody>
      </p:sp>
      <p:sp>
        <p:nvSpPr>
          <p:cNvPr id="31" name="Content Placeholder 2">
            <a:extLst>
              <a:ext uri="{FF2B5EF4-FFF2-40B4-BE49-F238E27FC236}">
                <a16:creationId xmlns:a16="http://schemas.microsoft.com/office/drawing/2014/main" id="{0D86883C-E501-47FF-AE1A-E9CE8B71B421}"/>
              </a:ext>
            </a:extLst>
          </p:cNvPr>
          <p:cNvSpPr>
            <a:spLocks noGrp="1"/>
          </p:cNvSpPr>
          <p:nvPr>
            <p:ph idx="20"/>
          </p:nvPr>
        </p:nvSpPr>
        <p:spPr>
          <a:xfrm>
            <a:off x="6216589" y="4052306"/>
            <a:ext cx="2588705" cy="1749005"/>
          </a:xfrm>
        </p:spPr>
        <p:txBody>
          <a:bodyPr lIns="0" tIns="0" rIns="0" bIns="0" rtlCol="0">
            <a:noAutofit/>
          </a:bodyPr>
          <a:lstStyle>
            <a:lvl1pPr marL="0" indent="0" algn="ctr">
              <a:buNone/>
              <a:defRPr sz="16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stStyle>
          <a:p>
            <a:pPr lvl="0" rtl="0"/>
            <a:r>
              <a:rPr lang="en-US" noProof="0"/>
              <a:t>Click to edit Master text styles</a:t>
            </a:r>
          </a:p>
        </p:txBody>
      </p:sp>
      <p:sp>
        <p:nvSpPr>
          <p:cNvPr id="32" name="Content Placeholder 2">
            <a:extLst>
              <a:ext uri="{FF2B5EF4-FFF2-40B4-BE49-F238E27FC236}">
                <a16:creationId xmlns:a16="http://schemas.microsoft.com/office/drawing/2014/main" id="{3683A037-F698-4CC9-904D-F377D71F690F}"/>
              </a:ext>
            </a:extLst>
          </p:cNvPr>
          <p:cNvSpPr>
            <a:spLocks noGrp="1"/>
          </p:cNvSpPr>
          <p:nvPr>
            <p:ph idx="21" hasCustomPrompt="1"/>
          </p:nvPr>
        </p:nvSpPr>
        <p:spPr>
          <a:xfrm>
            <a:off x="6216589" y="3539268"/>
            <a:ext cx="2588705" cy="495389"/>
          </a:xfrm>
        </p:spPr>
        <p:txBody>
          <a:bodyPr lIns="0" tIns="0" rIns="0" bIns="0" rtlCol="0" anchor="ctr">
            <a:noAutofit/>
          </a:bodyPr>
          <a:lstStyle>
            <a:lvl1pPr marL="0" indent="0" algn="ctr">
              <a:buNone/>
              <a:defRPr sz="1600" b="1" cap="all" baseline="0">
                <a:solidFill>
                  <a:srgbClr val="0D1D5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stStyle>
          <a:p>
            <a:pPr lvl="0" rtl="0"/>
            <a:r>
              <a:rPr lang="en-GB" noProof="0" dirty="0"/>
              <a:t>Executive 01</a:t>
            </a:r>
          </a:p>
        </p:txBody>
      </p:sp>
      <p:sp>
        <p:nvSpPr>
          <p:cNvPr id="33" name="Content Placeholder 2">
            <a:extLst>
              <a:ext uri="{FF2B5EF4-FFF2-40B4-BE49-F238E27FC236}">
                <a16:creationId xmlns:a16="http://schemas.microsoft.com/office/drawing/2014/main" id="{0A095594-2B82-44ED-8C9B-DA7C4D3D2872}"/>
              </a:ext>
            </a:extLst>
          </p:cNvPr>
          <p:cNvSpPr>
            <a:spLocks noGrp="1"/>
          </p:cNvSpPr>
          <p:nvPr>
            <p:ph idx="22"/>
          </p:nvPr>
        </p:nvSpPr>
        <p:spPr>
          <a:xfrm>
            <a:off x="9068972" y="4052306"/>
            <a:ext cx="2588705" cy="1749005"/>
          </a:xfrm>
        </p:spPr>
        <p:txBody>
          <a:bodyPr lIns="0" tIns="0" rIns="0" bIns="0" rtlCol="0">
            <a:noAutofit/>
          </a:bodyPr>
          <a:lstStyle>
            <a:lvl1pPr marL="0" indent="0" algn="ctr">
              <a:buNone/>
              <a:defRPr sz="16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stStyle>
          <a:p>
            <a:pPr lvl="0" rtl="0"/>
            <a:r>
              <a:rPr lang="en-US" noProof="0"/>
              <a:t>Click to edit Master text styles</a:t>
            </a:r>
          </a:p>
        </p:txBody>
      </p:sp>
      <p:sp>
        <p:nvSpPr>
          <p:cNvPr id="34" name="Content Placeholder 2">
            <a:extLst>
              <a:ext uri="{FF2B5EF4-FFF2-40B4-BE49-F238E27FC236}">
                <a16:creationId xmlns:a16="http://schemas.microsoft.com/office/drawing/2014/main" id="{54CDD46A-22ED-48F5-9B5F-13B1B5C4B320}"/>
              </a:ext>
            </a:extLst>
          </p:cNvPr>
          <p:cNvSpPr>
            <a:spLocks noGrp="1"/>
          </p:cNvSpPr>
          <p:nvPr>
            <p:ph idx="23" hasCustomPrompt="1"/>
          </p:nvPr>
        </p:nvSpPr>
        <p:spPr>
          <a:xfrm>
            <a:off x="9068972" y="3539268"/>
            <a:ext cx="2588705" cy="495389"/>
          </a:xfrm>
        </p:spPr>
        <p:txBody>
          <a:bodyPr lIns="0" tIns="0" rIns="0" bIns="0" rtlCol="0" anchor="ctr">
            <a:noAutofit/>
          </a:bodyPr>
          <a:lstStyle>
            <a:lvl1pPr marL="0" indent="0" algn="ctr">
              <a:buNone/>
              <a:defRPr sz="1600" b="1" cap="all" baseline="0">
                <a:solidFill>
                  <a:srgbClr val="0D1D5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stStyle>
          <a:p>
            <a:pPr lvl="0" rtl="0"/>
            <a:r>
              <a:rPr lang="en-GB" noProof="0" dirty="0"/>
              <a:t>Executive 01</a:t>
            </a:r>
          </a:p>
        </p:txBody>
      </p:sp>
    </p:spTree>
    <p:extLst>
      <p:ext uri="{BB962C8B-B14F-4D97-AF65-F5344CB8AC3E}">
        <p14:creationId xmlns:p14="http://schemas.microsoft.com/office/powerpoint/2010/main" val="387650381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BCC4D7FA-B85E-4477-8C62-94955B340F14}"/>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pPr rtl="0"/>
            <a:r>
              <a:rPr lang="en-US" noProof="0"/>
              <a:t>Click to edit Master title style</a:t>
            </a:r>
            <a:endParaRPr lang="en-GB" noProof="0"/>
          </a:p>
        </p:txBody>
      </p:sp>
      <p:sp>
        <p:nvSpPr>
          <p:cNvPr id="3" name="Text Placeholder 2">
            <a:extLst>
              <a:ext uri="{FF2B5EF4-FFF2-40B4-BE49-F238E27FC236}">
                <a16:creationId xmlns:a16="http://schemas.microsoft.com/office/drawing/2014/main" id="{1F1226BB-3E56-4E7F-8172-7EC03C9F0BCF}"/>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rtl="0"/>
            <a:r>
              <a:rPr lang="en-US" noProof="0"/>
              <a:t>Click to edit Master text styles</a:t>
            </a:r>
          </a:p>
          <a:p>
            <a:pPr lvl="1" rtl="0"/>
            <a:r>
              <a:rPr lang="en-US" noProof="0"/>
              <a:t>Second level</a:t>
            </a:r>
          </a:p>
          <a:p>
            <a:pPr lvl="2" rtl="0"/>
            <a:r>
              <a:rPr lang="en-US" noProof="0"/>
              <a:t>Third level</a:t>
            </a:r>
          </a:p>
          <a:p>
            <a:pPr lvl="3" rtl="0"/>
            <a:r>
              <a:rPr lang="en-US" noProof="0"/>
              <a:t>Fourth level</a:t>
            </a:r>
          </a:p>
          <a:p>
            <a:pPr lvl="4" rtl="0"/>
            <a:r>
              <a:rPr lang="en-US" noProof="0"/>
              <a:t>Fifth level</a:t>
            </a:r>
            <a:endParaRPr lang="en-GB" noProof="0"/>
          </a:p>
        </p:txBody>
      </p:sp>
      <p:sp>
        <p:nvSpPr>
          <p:cNvPr id="4" name="Date Placeholder 3">
            <a:extLst>
              <a:ext uri="{FF2B5EF4-FFF2-40B4-BE49-F238E27FC236}">
                <a16:creationId xmlns:a16="http://schemas.microsoft.com/office/drawing/2014/main" id="{D95D08EF-72FB-4F19-9916-65815A9CA99C}"/>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rtl="0"/>
            <a:fld id="{59B8D6E1-39C9-4C44-91D8-BAEE9FF6D549}" type="datetime1">
              <a:rPr lang="en-GB" noProof="0" smtClean="0"/>
              <a:t>19/10/2023</a:t>
            </a:fld>
            <a:endParaRPr lang="en-GB" noProof="0"/>
          </a:p>
        </p:txBody>
      </p:sp>
      <p:sp>
        <p:nvSpPr>
          <p:cNvPr id="5" name="Footer Placeholder 4">
            <a:extLst>
              <a:ext uri="{FF2B5EF4-FFF2-40B4-BE49-F238E27FC236}">
                <a16:creationId xmlns:a16="http://schemas.microsoft.com/office/drawing/2014/main" id="{1365084D-BC85-4A55-BD80-93876AD10108}"/>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rtl="0"/>
            <a:endParaRPr lang="en-GB" noProof="0"/>
          </a:p>
        </p:txBody>
      </p:sp>
      <p:sp>
        <p:nvSpPr>
          <p:cNvPr id="6" name="Slide Number Placeholder 5">
            <a:extLst>
              <a:ext uri="{FF2B5EF4-FFF2-40B4-BE49-F238E27FC236}">
                <a16:creationId xmlns:a16="http://schemas.microsoft.com/office/drawing/2014/main" id="{45FDEF23-A140-4DD6-A0D0-A86BD4DF3404}"/>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rtl="0"/>
            <a:fld id="{9EC71654-96A5-4280-94F3-931C61A9F92C}" type="slidenum">
              <a:rPr lang="en-GB" noProof="0" smtClean="0"/>
              <a:t>‹#›</a:t>
            </a:fld>
            <a:endParaRPr lang="en-GB" noProof="0"/>
          </a:p>
        </p:txBody>
      </p:sp>
    </p:spTree>
    <p:extLst>
      <p:ext uri="{BB962C8B-B14F-4D97-AF65-F5344CB8AC3E}">
        <p14:creationId xmlns:p14="http://schemas.microsoft.com/office/powerpoint/2010/main" val="2347082301"/>
      </p:ext>
    </p:extLst>
  </p:cSld>
  <p:clrMap bg1="lt1" tx1="dk1" bg2="lt2" tx2="dk2" accent1="accent1" accent2="accent2" accent3="accent3" accent4="accent4" accent5="accent5" accent6="accent6" hlink="hlink" folHlink="folHlink"/>
  <p:sldLayoutIdLst>
    <p:sldLayoutId id="2147483649" r:id="rId1"/>
    <p:sldLayoutId id="2147483660" r:id="rId2"/>
    <p:sldLayoutId id="2147483651" r:id="rId3"/>
    <p:sldLayoutId id="2147483650" r:id="rId4"/>
    <p:sldLayoutId id="2147483661" r:id="rId5"/>
    <p:sldLayoutId id="2147483662" r:id="rId6"/>
    <p:sldLayoutId id="2147483663" r:id="rId7"/>
    <p:sldLayoutId id="2147483654" r:id="rId8"/>
    <p:sldLayoutId id="2147483664" r:id="rId9"/>
    <p:sldLayoutId id="2147483665" r:id="rId10"/>
    <p:sldLayoutId id="2147483666" r:id="rId11"/>
    <p:sldLayoutId id="2147483667" r:id="rId12"/>
    <p:sldLayoutId id="2147483668" r:id="rId13"/>
    <p:sldLayoutId id="2147483669" r:id="rId14"/>
    <p:sldLayoutId id="2147483670" r:id="rId15"/>
    <p:sldLayoutId id="2147483671" r:id="rId16"/>
    <p:sldLayoutId id="2147483672" r:id="rId17"/>
    <p:sldLayoutId id="2147483673" r:id="rId18"/>
    <p:sldLayoutId id="2147483674" r:id="rId19"/>
    <p:sldLayoutId id="2147483675" r:id="rId20"/>
    <p:sldLayoutId id="2147483676" r:id="rId21"/>
    <p:sldLayoutId id="2147483677" r:id="rId22"/>
    <p:sldLayoutId id="2147483678" r:id="rId23"/>
    <p:sldLayoutId id="2147483679" r:id="rId24"/>
    <p:sldLayoutId id="2147483680" r:id="rId25"/>
    <p:sldLayoutId id="2147483681" r:id="rId26"/>
    <p:sldLayoutId id="2147483682" r:id="rId27"/>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3840" userDrawn="1">
          <p15:clr>
            <a:srgbClr val="F26B43"/>
          </p15:clr>
        </p15:guide>
        <p15:guide id="3" pos="325" userDrawn="1">
          <p15:clr>
            <a:srgbClr val="F26B43"/>
          </p15:clr>
        </p15:guide>
        <p15:guide id="4" pos="7349"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1.jpg"/><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3" Type="http://schemas.openxmlformats.org/officeDocument/2006/relationships/image" Target="../media/image20.jpeg"/><Relationship Id="rId2" Type="http://schemas.openxmlformats.org/officeDocument/2006/relationships/image" Target="../media/image2.jpg"/><Relationship Id="rId1" Type="http://schemas.openxmlformats.org/officeDocument/2006/relationships/slideLayout" Target="../slideLayouts/slideLayout27.xml"/></Relationships>
</file>

<file path=ppt/slides/_rels/slide11.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image" Target="../media/image21.png"/><Relationship Id="rId1" Type="http://schemas.openxmlformats.org/officeDocument/2006/relationships/slideLayout" Target="../slideLayouts/slideLayout27.xml"/></Relationships>
</file>

<file path=ppt/slides/_rels/slide12.xml.rels><?xml version="1.0" encoding="UTF-8" standalone="yes"?>
<Relationships xmlns="http://schemas.openxmlformats.org/package/2006/relationships"><Relationship Id="rId3" Type="http://schemas.openxmlformats.org/officeDocument/2006/relationships/image" Target="../media/image22.jpg"/><Relationship Id="rId2" Type="http://schemas.openxmlformats.org/officeDocument/2006/relationships/image" Target="../media/image2.jpg"/><Relationship Id="rId1" Type="http://schemas.openxmlformats.org/officeDocument/2006/relationships/slideLayout" Target="../slideLayouts/slideLayout27.xml"/></Relationships>
</file>

<file path=ppt/slides/_rels/slide13.xml.rels><?xml version="1.0" encoding="UTF-8" standalone="yes"?>
<Relationships xmlns="http://schemas.openxmlformats.org/package/2006/relationships"><Relationship Id="rId3" Type="http://schemas.openxmlformats.org/officeDocument/2006/relationships/image" Target="../media/image23.jpg"/><Relationship Id="rId2" Type="http://schemas.openxmlformats.org/officeDocument/2006/relationships/image" Target="../media/image2.jpg"/><Relationship Id="rId1" Type="http://schemas.openxmlformats.org/officeDocument/2006/relationships/slideLayout" Target="../slideLayouts/slideLayout27.xml"/></Relationships>
</file>

<file path=ppt/slides/_rels/slide14.xml.rels><?xml version="1.0" encoding="UTF-8" standalone="yes"?>
<Relationships xmlns="http://schemas.openxmlformats.org/package/2006/relationships"><Relationship Id="rId3" Type="http://schemas.openxmlformats.org/officeDocument/2006/relationships/image" Target="../media/image24.jpg"/><Relationship Id="rId2" Type="http://schemas.openxmlformats.org/officeDocument/2006/relationships/image" Target="../media/image2.jpg"/><Relationship Id="rId1" Type="http://schemas.openxmlformats.org/officeDocument/2006/relationships/slideLayout" Target="../slideLayouts/slideLayout27.xml"/></Relationships>
</file>

<file path=ppt/slides/_rels/slide15.xml.rels><?xml version="1.0" encoding="UTF-8" standalone="yes"?>
<Relationships xmlns="http://schemas.openxmlformats.org/package/2006/relationships"><Relationship Id="rId3" Type="http://schemas.openxmlformats.org/officeDocument/2006/relationships/image" Target="../media/image25.jpg"/><Relationship Id="rId2" Type="http://schemas.openxmlformats.org/officeDocument/2006/relationships/image" Target="../media/image2.jpg"/><Relationship Id="rId1" Type="http://schemas.openxmlformats.org/officeDocument/2006/relationships/slideLayout" Target="../slideLayouts/slideLayout27.xml"/></Relationships>
</file>

<file path=ppt/slides/_rels/slide16.xml.rels><?xml version="1.0" encoding="UTF-8" standalone="yes"?>
<Relationships xmlns="http://schemas.openxmlformats.org/package/2006/relationships"><Relationship Id="rId3" Type="http://schemas.openxmlformats.org/officeDocument/2006/relationships/image" Target="../media/image26.jpg"/><Relationship Id="rId2" Type="http://schemas.openxmlformats.org/officeDocument/2006/relationships/notesSlide" Target="../notesSlides/notesSlide2.xml"/><Relationship Id="rId1" Type="http://schemas.openxmlformats.org/officeDocument/2006/relationships/slideLayout" Target="../slideLayouts/slideLayout11.xml"/></Relationships>
</file>

<file path=ppt/slides/_rels/slide2.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Layout" Target="../slideLayouts/slideLayout19.xml"/></Relationships>
</file>

<file path=ppt/slides/_rels/slide3.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image" Target="../media/image12.jpg"/><Relationship Id="rId1" Type="http://schemas.openxmlformats.org/officeDocument/2006/relationships/slideLayout" Target="../slideLayouts/slideLayout20.xml"/><Relationship Id="rId5" Type="http://schemas.openxmlformats.org/officeDocument/2006/relationships/image" Target="../media/image14.jpg"/><Relationship Id="rId4" Type="http://schemas.openxmlformats.org/officeDocument/2006/relationships/image" Target="../media/image13.jpg"/></Relationships>
</file>

<file path=ppt/slides/_rels/slide4.xml.rels><?xml version="1.0" encoding="UTF-8" standalone="yes"?>
<Relationships xmlns="http://schemas.openxmlformats.org/package/2006/relationships"><Relationship Id="rId3" Type="http://schemas.openxmlformats.org/officeDocument/2006/relationships/image" Target="../media/image15.jpg"/><Relationship Id="rId2" Type="http://schemas.openxmlformats.org/officeDocument/2006/relationships/image" Target="../media/image2.jpg"/><Relationship Id="rId1" Type="http://schemas.openxmlformats.org/officeDocument/2006/relationships/slideLayout" Target="../slideLayouts/slideLayout21.xml"/></Relationships>
</file>

<file path=ppt/slides/_rels/slide5.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Layout" Target="../slideLayouts/slideLayout22.xml"/></Relationships>
</file>

<file path=ppt/slides/_rels/slide6.xml.rels><?xml version="1.0" encoding="UTF-8" standalone="yes"?>
<Relationships xmlns="http://schemas.openxmlformats.org/package/2006/relationships"><Relationship Id="rId3" Type="http://schemas.openxmlformats.org/officeDocument/2006/relationships/image" Target="../media/image17.jpg"/><Relationship Id="rId2" Type="http://schemas.openxmlformats.org/officeDocument/2006/relationships/image" Target="../media/image16.jpg"/><Relationship Id="rId1" Type="http://schemas.openxmlformats.org/officeDocument/2006/relationships/slideLayout" Target="../slideLayouts/slideLayout23.xml"/><Relationship Id="rId5" Type="http://schemas.openxmlformats.org/officeDocument/2006/relationships/image" Target="../media/image2.jpg"/><Relationship Id="rId4" Type="http://schemas.openxmlformats.org/officeDocument/2006/relationships/image" Target="../media/image18.jpg"/></Relationships>
</file>

<file path=ppt/slides/_rels/slide7.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Layout" Target="../slideLayouts/slideLayout24.xml"/></Relationships>
</file>

<file path=ppt/slides/_rels/slide8.xml.rels><?xml version="1.0" encoding="UTF-8" standalone="yes"?>
<Relationships xmlns="http://schemas.openxmlformats.org/package/2006/relationships"><Relationship Id="rId3" Type="http://schemas.openxmlformats.org/officeDocument/2006/relationships/image" Target="../media/image19.jpg"/><Relationship Id="rId2" Type="http://schemas.openxmlformats.org/officeDocument/2006/relationships/image" Target="../media/image2.jpg"/><Relationship Id="rId1" Type="http://schemas.openxmlformats.org/officeDocument/2006/relationships/slideLayout" Target="../slideLayouts/slideLayout25.xml"/></Relationships>
</file>

<file path=ppt/slides/_rels/slide9.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Layout" Target="../slideLayouts/slideLayout2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BAB08B8-3DB3-4637-AE23-B8DB96D9FCEC}"/>
              </a:ext>
            </a:extLst>
          </p:cNvPr>
          <p:cNvSpPr>
            <a:spLocks noGrp="1"/>
          </p:cNvSpPr>
          <p:nvPr>
            <p:ph type="ctrTitle"/>
          </p:nvPr>
        </p:nvSpPr>
        <p:spPr>
          <a:xfrm>
            <a:off x="6343650" y="2173288"/>
            <a:ext cx="5143500" cy="2090808"/>
          </a:xfrm>
        </p:spPr>
        <p:txBody>
          <a:bodyPr rtlCol="0" anchor="b">
            <a:normAutofit/>
          </a:bodyPr>
          <a:lstStyle/>
          <a:p>
            <a:pPr rtl="0"/>
            <a:r>
              <a:rPr lang="en-GB" sz="4600"/>
              <a:t>Safety Culture </a:t>
            </a:r>
            <a:br>
              <a:rPr lang="en-GB" sz="4600"/>
            </a:br>
            <a:r>
              <a:rPr lang="en-GB" sz="4600"/>
              <a:t>in an Operating Environment</a:t>
            </a:r>
          </a:p>
        </p:txBody>
      </p:sp>
      <p:sp>
        <p:nvSpPr>
          <p:cNvPr id="15" name="Subtitle 2">
            <a:extLst>
              <a:ext uri="{FF2B5EF4-FFF2-40B4-BE49-F238E27FC236}">
                <a16:creationId xmlns:a16="http://schemas.microsoft.com/office/drawing/2014/main" id="{9CA987DD-037B-E5D4-FCF6-392BD4267289}"/>
              </a:ext>
            </a:extLst>
          </p:cNvPr>
          <p:cNvSpPr>
            <a:spLocks noGrp="1"/>
          </p:cNvSpPr>
          <p:nvPr>
            <p:ph type="subTitle" idx="1"/>
          </p:nvPr>
        </p:nvSpPr>
        <p:spPr>
          <a:xfrm>
            <a:off x="6448754" y="4752937"/>
            <a:ext cx="5143500" cy="503167"/>
          </a:xfrm>
        </p:spPr>
        <p:txBody>
          <a:bodyPr/>
          <a:lstStyle/>
          <a:p>
            <a:r>
              <a:rPr lang="en-US" dirty="0"/>
              <a:t>Hazards 33 </a:t>
            </a:r>
          </a:p>
          <a:p>
            <a:r>
              <a:rPr lang="en-US" dirty="0"/>
              <a:t>Ron Ramshaw</a:t>
            </a:r>
          </a:p>
        </p:txBody>
      </p:sp>
      <p:pic>
        <p:nvPicPr>
          <p:cNvPr id="6" name="Picture Placeholder 5" descr="A compass with a red text&#10;&#10;Description automatically generated">
            <a:extLst>
              <a:ext uri="{FF2B5EF4-FFF2-40B4-BE49-F238E27FC236}">
                <a16:creationId xmlns:a16="http://schemas.microsoft.com/office/drawing/2014/main" id="{3D8AA8D2-45C0-94EC-6266-E32F13F055BC}"/>
              </a:ext>
            </a:extLst>
          </p:cNvPr>
          <p:cNvPicPr>
            <a:picLocks noGrp="1" noChangeAspect="1"/>
          </p:cNvPicPr>
          <p:nvPr>
            <p:ph type="pic" sz="quarter" idx="10"/>
          </p:nvPr>
        </p:nvPicPr>
        <p:blipFill>
          <a:blip r:embed="rId3"/>
          <a:srcRect l="14367" r="14367"/>
          <a:stretch>
            <a:fillRect/>
          </a:stretch>
        </p:blipFill>
        <p:spPr/>
      </p:pic>
    </p:spTree>
    <p:extLst>
      <p:ext uri="{BB962C8B-B14F-4D97-AF65-F5344CB8AC3E}">
        <p14:creationId xmlns:p14="http://schemas.microsoft.com/office/powerpoint/2010/main" val="316717206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A075597-598D-34C6-014F-77F8C4C8ED91}"/>
              </a:ext>
            </a:extLst>
          </p:cNvPr>
          <p:cNvSpPr>
            <a:spLocks noGrp="1"/>
          </p:cNvSpPr>
          <p:nvPr>
            <p:ph type="title"/>
          </p:nvPr>
        </p:nvSpPr>
        <p:spPr/>
        <p:txBody>
          <a:bodyPr/>
          <a:lstStyle/>
          <a:p>
            <a:r>
              <a:rPr lang="en-GB" dirty="0"/>
              <a:t>Four Key Questions</a:t>
            </a:r>
          </a:p>
        </p:txBody>
      </p:sp>
      <p:pic>
        <p:nvPicPr>
          <p:cNvPr id="3" name="Picture 2" descr="A logo of a puzzle ball&#10;&#10;Description automatically generated">
            <a:extLst>
              <a:ext uri="{FF2B5EF4-FFF2-40B4-BE49-F238E27FC236}">
                <a16:creationId xmlns:a16="http://schemas.microsoft.com/office/drawing/2014/main" id="{1BFB780F-CA76-856B-E2B1-9209A6D08E43}"/>
              </a:ext>
            </a:extLst>
          </p:cNvPr>
          <p:cNvPicPr>
            <a:picLocks noChangeAspect="1"/>
          </p:cNvPicPr>
          <p:nvPr/>
        </p:nvPicPr>
        <p:blipFill>
          <a:blip r:embed="rId2"/>
          <a:stretch>
            <a:fillRect/>
          </a:stretch>
        </p:blipFill>
        <p:spPr>
          <a:xfrm>
            <a:off x="11166650" y="0"/>
            <a:ext cx="1025350" cy="972407"/>
          </a:xfrm>
          <a:prstGeom prst="rect">
            <a:avLst/>
          </a:prstGeom>
        </p:spPr>
      </p:pic>
      <p:sp>
        <p:nvSpPr>
          <p:cNvPr id="5" name="TextBox 4">
            <a:extLst>
              <a:ext uri="{FF2B5EF4-FFF2-40B4-BE49-F238E27FC236}">
                <a16:creationId xmlns:a16="http://schemas.microsoft.com/office/drawing/2014/main" id="{B13409C2-F0B0-9C72-99F9-3605395C0222}"/>
              </a:ext>
            </a:extLst>
          </p:cNvPr>
          <p:cNvSpPr txBox="1"/>
          <p:nvPr/>
        </p:nvSpPr>
        <p:spPr>
          <a:xfrm>
            <a:off x="276225" y="1320728"/>
            <a:ext cx="6096000" cy="5078313"/>
          </a:xfrm>
          <a:prstGeom prst="rect">
            <a:avLst/>
          </a:prstGeom>
          <a:noFill/>
        </p:spPr>
        <p:txBody>
          <a:bodyPr wrap="square">
            <a:spAutoFit/>
          </a:bodyPr>
          <a:lstStyle/>
          <a:p>
            <a:pPr marL="457200" indent="-457200">
              <a:buFont typeface="+mj-lt"/>
              <a:buAutoNum type="arabicParenR"/>
            </a:pPr>
            <a:r>
              <a:rPr lang="en-GB" sz="1800" dirty="0"/>
              <a:t>Are we spending too much of our time focussed on the tangible and relatively well understood hard systems and not enough truly understanding the softer world of safety culture and how that presents and is executed in an operational environment?</a:t>
            </a:r>
          </a:p>
          <a:p>
            <a:pPr marL="457200" indent="-457200">
              <a:buFont typeface="+mj-lt"/>
              <a:buAutoNum type="arabicParenR"/>
            </a:pPr>
            <a:endParaRPr lang="en-GB" sz="1800" dirty="0"/>
          </a:p>
          <a:p>
            <a:pPr marL="457200" indent="-457200">
              <a:buFont typeface="+mj-lt"/>
              <a:buAutoNum type="arabicParenR"/>
            </a:pPr>
            <a:r>
              <a:rPr lang="en-GB" sz="1800" dirty="0"/>
              <a:t>Should we be having the same conversation around </a:t>
            </a:r>
            <a:r>
              <a:rPr lang="en-GB" sz="1800" i="1" dirty="0">
                <a:solidFill>
                  <a:schemeClr val="accent2">
                    <a:lumMod val="60000"/>
                    <a:lumOff val="40000"/>
                  </a:schemeClr>
                </a:solidFill>
              </a:rPr>
              <a:t>safety culture and processes and systems</a:t>
            </a:r>
            <a:r>
              <a:rPr lang="en-GB" sz="1800" dirty="0"/>
              <a:t> that we have been having regarding process safety and occupational safety?</a:t>
            </a:r>
          </a:p>
          <a:p>
            <a:pPr marL="457200" indent="-457200">
              <a:buFont typeface="+mj-lt"/>
              <a:buAutoNum type="arabicParenR"/>
            </a:pPr>
            <a:endParaRPr lang="en-GB" sz="1800" dirty="0"/>
          </a:p>
          <a:p>
            <a:pPr marL="457200" indent="-457200">
              <a:buFont typeface="+mj-lt"/>
              <a:buAutoNum type="arabicParenR"/>
            </a:pPr>
            <a:r>
              <a:rPr lang="en-GB" sz="1800" dirty="0"/>
              <a:t>Is improving safety culture to broad and difficult a subject or are engineers and consultants happy to perform within their comfort zone?</a:t>
            </a:r>
          </a:p>
          <a:p>
            <a:pPr marL="457200" indent="-457200">
              <a:buFont typeface="+mj-lt"/>
              <a:buAutoNum type="arabicParenR"/>
            </a:pPr>
            <a:endParaRPr lang="en-GB" sz="1800" dirty="0"/>
          </a:p>
          <a:p>
            <a:pPr marL="457200" indent="-457200">
              <a:buFont typeface="+mj-lt"/>
              <a:buAutoNum type="arabicParenR"/>
            </a:pPr>
            <a:r>
              <a:rPr lang="en-GB" sz="1800" dirty="0"/>
              <a:t>Does improving safety culture need to be an academic exercise or can we simplify?</a:t>
            </a:r>
          </a:p>
        </p:txBody>
      </p:sp>
      <p:pic>
        <p:nvPicPr>
          <p:cNvPr id="4" name="Content Placeholder 5" descr="texas city picture 2.jpg">
            <a:extLst>
              <a:ext uri="{FF2B5EF4-FFF2-40B4-BE49-F238E27FC236}">
                <a16:creationId xmlns:a16="http://schemas.microsoft.com/office/drawing/2014/main" id="{D531FF0E-6008-A28B-A538-D8CE08C88731}"/>
              </a:ext>
            </a:extLst>
          </p:cNvPr>
          <p:cNvPicPr>
            <a:picLocks noChangeAspect="1"/>
          </p:cNvPicPr>
          <p:nvPr/>
        </p:nvPicPr>
        <p:blipFill>
          <a:blip r:embed="rId3" cstate="print"/>
          <a:srcRect/>
          <a:stretch>
            <a:fillRect/>
          </a:stretch>
        </p:blipFill>
        <p:spPr>
          <a:xfrm>
            <a:off x="7679903" y="2132968"/>
            <a:ext cx="4512097" cy="2996080"/>
          </a:xfrm>
          <a:prstGeom prst="rect">
            <a:avLst/>
          </a:prstGeom>
        </p:spPr>
      </p:pic>
    </p:spTree>
    <p:extLst>
      <p:ext uri="{BB962C8B-B14F-4D97-AF65-F5344CB8AC3E}">
        <p14:creationId xmlns:p14="http://schemas.microsoft.com/office/powerpoint/2010/main" val="322539843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94" name="Picture 393" descr="A diagram of safety measures&#10;&#10;Description automatically generated">
            <a:extLst>
              <a:ext uri="{FF2B5EF4-FFF2-40B4-BE49-F238E27FC236}">
                <a16:creationId xmlns:a16="http://schemas.microsoft.com/office/drawing/2014/main" id="{E471F2AC-9DF3-B1AE-2C68-6BBF8BA87A3E}"/>
              </a:ext>
            </a:extLst>
          </p:cNvPr>
          <p:cNvPicPr>
            <a:picLocks noChangeAspect="1"/>
          </p:cNvPicPr>
          <p:nvPr/>
        </p:nvPicPr>
        <p:blipFill>
          <a:blip r:embed="rId2"/>
          <a:stretch>
            <a:fillRect/>
          </a:stretch>
        </p:blipFill>
        <p:spPr>
          <a:xfrm>
            <a:off x="7178567" y="4172606"/>
            <a:ext cx="5013434" cy="2685393"/>
          </a:xfrm>
          <a:prstGeom prst="rect">
            <a:avLst/>
          </a:prstGeom>
        </p:spPr>
      </p:pic>
      <p:sp>
        <p:nvSpPr>
          <p:cNvPr id="2" name="Title 1">
            <a:extLst>
              <a:ext uri="{FF2B5EF4-FFF2-40B4-BE49-F238E27FC236}">
                <a16:creationId xmlns:a16="http://schemas.microsoft.com/office/drawing/2014/main" id="{5A075597-598D-34C6-014F-77F8C4C8ED91}"/>
              </a:ext>
            </a:extLst>
          </p:cNvPr>
          <p:cNvSpPr>
            <a:spLocks noGrp="1"/>
          </p:cNvSpPr>
          <p:nvPr>
            <p:ph type="title"/>
          </p:nvPr>
        </p:nvSpPr>
        <p:spPr/>
        <p:txBody>
          <a:bodyPr/>
          <a:lstStyle/>
          <a:p>
            <a:r>
              <a:rPr lang="en-GB" dirty="0"/>
              <a:t>Four Key Thoughts</a:t>
            </a:r>
          </a:p>
        </p:txBody>
      </p:sp>
      <p:pic>
        <p:nvPicPr>
          <p:cNvPr id="3" name="Picture 2" descr="A logo of a puzzle ball&#10;&#10;Description automatically generated">
            <a:extLst>
              <a:ext uri="{FF2B5EF4-FFF2-40B4-BE49-F238E27FC236}">
                <a16:creationId xmlns:a16="http://schemas.microsoft.com/office/drawing/2014/main" id="{1BFB780F-CA76-856B-E2B1-9209A6D08E43}"/>
              </a:ext>
            </a:extLst>
          </p:cNvPr>
          <p:cNvPicPr>
            <a:picLocks noChangeAspect="1"/>
          </p:cNvPicPr>
          <p:nvPr/>
        </p:nvPicPr>
        <p:blipFill>
          <a:blip r:embed="rId3"/>
          <a:stretch>
            <a:fillRect/>
          </a:stretch>
        </p:blipFill>
        <p:spPr>
          <a:xfrm>
            <a:off x="11105908" y="0"/>
            <a:ext cx="1086092" cy="1030014"/>
          </a:xfrm>
          <a:prstGeom prst="rect">
            <a:avLst/>
          </a:prstGeom>
        </p:spPr>
      </p:pic>
      <p:sp>
        <p:nvSpPr>
          <p:cNvPr id="5" name="TextBox 4">
            <a:extLst>
              <a:ext uri="{FF2B5EF4-FFF2-40B4-BE49-F238E27FC236}">
                <a16:creationId xmlns:a16="http://schemas.microsoft.com/office/drawing/2014/main" id="{B13409C2-F0B0-9C72-99F9-3605395C0222}"/>
              </a:ext>
            </a:extLst>
          </p:cNvPr>
          <p:cNvSpPr txBox="1"/>
          <p:nvPr/>
        </p:nvSpPr>
        <p:spPr>
          <a:xfrm>
            <a:off x="202653" y="1322368"/>
            <a:ext cx="10166062" cy="3416320"/>
          </a:xfrm>
          <a:prstGeom prst="rect">
            <a:avLst/>
          </a:prstGeom>
          <a:noFill/>
        </p:spPr>
        <p:txBody>
          <a:bodyPr wrap="square">
            <a:spAutoFit/>
          </a:bodyPr>
          <a:lstStyle/>
          <a:p>
            <a:r>
              <a:rPr lang="en-GB" sz="1800" dirty="0"/>
              <a:t>Are we spending too much of our time focussed on the tangible and relatively well understood hard systems and not enough truly understanding the softer world of safety culture and how that presents and is executed in an operational environment?</a:t>
            </a:r>
          </a:p>
          <a:p>
            <a:pPr marL="457200" indent="-457200">
              <a:buFont typeface="+mj-lt"/>
              <a:buAutoNum type="arabicParenR"/>
            </a:pPr>
            <a:endParaRPr lang="en-GB" sz="1800" dirty="0"/>
          </a:p>
          <a:p>
            <a:pPr marL="285750" indent="-285750">
              <a:buFont typeface="Wingdings" panose="05000000000000000000" pitchFamily="2" charset="2"/>
              <a:buChar char="Ø"/>
            </a:pPr>
            <a:r>
              <a:rPr lang="en-GB" sz="1800" dirty="0">
                <a:solidFill>
                  <a:srgbClr val="000000"/>
                </a:solidFill>
                <a:effectLst/>
                <a:ea typeface="Calibri" panose="020F0502020204030204" pitchFamily="34" charset="0"/>
                <a:cs typeface="Times New Roman" panose="02020603050405020304" pitchFamily="18" charset="0"/>
              </a:rPr>
              <a:t>The process and chemical industries have achieved significant improvements in the last thirty years largely due to improved engineering and safety management practices. Ultimately these improved engineering and safety management practices will be diluted if there is inadequate attention to organisational safety. </a:t>
            </a:r>
          </a:p>
          <a:p>
            <a:endParaRPr lang="en-GB" b="1" dirty="0">
              <a:solidFill>
                <a:srgbClr val="000000"/>
              </a:solidFill>
              <a:ea typeface="Calibri" panose="020F0502020204030204" pitchFamily="34" charset="0"/>
              <a:cs typeface="Times New Roman" panose="02020603050405020304" pitchFamily="18" charset="0"/>
            </a:endParaRPr>
          </a:p>
          <a:p>
            <a:pPr marL="285750" indent="-285750">
              <a:buFont typeface="Wingdings" panose="05000000000000000000" pitchFamily="2" charset="2"/>
              <a:buChar char="Ø"/>
            </a:pPr>
            <a:r>
              <a:rPr lang="en-GB" sz="1800" dirty="0">
                <a:solidFill>
                  <a:srgbClr val="000000"/>
                </a:solidFill>
                <a:effectLst/>
                <a:ea typeface="Calibri" panose="020F0502020204030204" pitchFamily="34" charset="0"/>
                <a:cs typeface="Times New Roman" panose="02020603050405020304" pitchFamily="18" charset="0"/>
              </a:rPr>
              <a:t>In the authors opinion, yes, we are spending too much time focussed on tangible, hard systems in relation to the time we spend on safety culture. </a:t>
            </a:r>
            <a:endParaRPr lang="en-GB" sz="1800" dirty="0">
              <a:effectLst/>
              <a:ea typeface="Calibri" panose="020F0502020204030204" pitchFamily="34" charset="0"/>
              <a:cs typeface="Times New Roman" panose="02020603050405020304" pitchFamily="18" charset="0"/>
            </a:endParaRPr>
          </a:p>
          <a:p>
            <a:endParaRPr lang="en-GB" sz="1800" dirty="0"/>
          </a:p>
        </p:txBody>
      </p:sp>
    </p:spTree>
    <p:extLst>
      <p:ext uri="{BB962C8B-B14F-4D97-AF65-F5344CB8AC3E}">
        <p14:creationId xmlns:p14="http://schemas.microsoft.com/office/powerpoint/2010/main" val="355682513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A075597-598D-34C6-014F-77F8C4C8ED91}"/>
              </a:ext>
            </a:extLst>
          </p:cNvPr>
          <p:cNvSpPr>
            <a:spLocks noGrp="1"/>
          </p:cNvSpPr>
          <p:nvPr>
            <p:ph type="title"/>
          </p:nvPr>
        </p:nvSpPr>
        <p:spPr/>
        <p:txBody>
          <a:bodyPr/>
          <a:lstStyle/>
          <a:p>
            <a:r>
              <a:rPr lang="en-GB" dirty="0"/>
              <a:t>Four Key Thoughts</a:t>
            </a:r>
          </a:p>
        </p:txBody>
      </p:sp>
      <p:pic>
        <p:nvPicPr>
          <p:cNvPr id="3" name="Picture 2" descr="A logo of a puzzle ball&#10;&#10;Description automatically generated">
            <a:extLst>
              <a:ext uri="{FF2B5EF4-FFF2-40B4-BE49-F238E27FC236}">
                <a16:creationId xmlns:a16="http://schemas.microsoft.com/office/drawing/2014/main" id="{1BFB780F-CA76-856B-E2B1-9209A6D08E43}"/>
              </a:ext>
            </a:extLst>
          </p:cNvPr>
          <p:cNvPicPr>
            <a:picLocks noChangeAspect="1"/>
          </p:cNvPicPr>
          <p:nvPr/>
        </p:nvPicPr>
        <p:blipFill>
          <a:blip r:embed="rId2"/>
          <a:stretch>
            <a:fillRect/>
          </a:stretch>
        </p:blipFill>
        <p:spPr>
          <a:xfrm>
            <a:off x="11089075" y="0"/>
            <a:ext cx="1102925" cy="1045978"/>
          </a:xfrm>
          <a:prstGeom prst="rect">
            <a:avLst/>
          </a:prstGeom>
        </p:spPr>
      </p:pic>
      <p:sp>
        <p:nvSpPr>
          <p:cNvPr id="5" name="TextBox 4">
            <a:extLst>
              <a:ext uri="{FF2B5EF4-FFF2-40B4-BE49-F238E27FC236}">
                <a16:creationId xmlns:a16="http://schemas.microsoft.com/office/drawing/2014/main" id="{B13409C2-F0B0-9C72-99F9-3605395C0222}"/>
              </a:ext>
            </a:extLst>
          </p:cNvPr>
          <p:cNvSpPr txBox="1"/>
          <p:nvPr/>
        </p:nvSpPr>
        <p:spPr>
          <a:xfrm>
            <a:off x="276225" y="1320728"/>
            <a:ext cx="6096000" cy="5909310"/>
          </a:xfrm>
          <a:prstGeom prst="rect">
            <a:avLst/>
          </a:prstGeom>
          <a:noFill/>
        </p:spPr>
        <p:txBody>
          <a:bodyPr wrap="square">
            <a:spAutoFit/>
          </a:bodyPr>
          <a:lstStyle/>
          <a:p>
            <a:endParaRPr lang="en-GB" sz="1800" dirty="0"/>
          </a:p>
          <a:p>
            <a:r>
              <a:rPr lang="en-GB" sz="1800" dirty="0"/>
              <a:t>Should we be having the same conversation around </a:t>
            </a:r>
            <a:r>
              <a:rPr lang="en-GB" sz="1800" i="1" dirty="0">
                <a:solidFill>
                  <a:schemeClr val="accent2">
                    <a:lumMod val="60000"/>
                    <a:lumOff val="40000"/>
                  </a:schemeClr>
                </a:solidFill>
              </a:rPr>
              <a:t>safety culture and processes and systems</a:t>
            </a:r>
            <a:r>
              <a:rPr lang="en-GB" sz="1800" dirty="0"/>
              <a:t> that we have been having regarding process safety and occupational safety?</a:t>
            </a:r>
          </a:p>
          <a:p>
            <a:endParaRPr lang="en-GB" dirty="0"/>
          </a:p>
          <a:p>
            <a:endParaRPr lang="en-GB" sz="1800" dirty="0"/>
          </a:p>
          <a:p>
            <a:pPr marL="285750" indent="-285750">
              <a:buFont typeface="Wingdings" panose="05000000000000000000" pitchFamily="2" charset="2"/>
              <a:buChar char="Ø"/>
            </a:pPr>
            <a:r>
              <a:rPr lang="en-GB" sz="1800" dirty="0">
                <a:solidFill>
                  <a:srgbClr val="000000"/>
                </a:solidFill>
                <a:effectLst/>
                <a:ea typeface="Calibri" panose="020F0502020204030204" pitchFamily="34" charset="0"/>
                <a:cs typeface="Times New Roman" panose="02020603050405020304" pitchFamily="18" charset="0"/>
              </a:rPr>
              <a:t>Most definitely, they are two different topics with a different set of tools required to deal with each one in much the same way as Occupational Safety and Process Safety.   </a:t>
            </a:r>
          </a:p>
          <a:p>
            <a:r>
              <a:rPr lang="en-GB" sz="1800" dirty="0">
                <a:solidFill>
                  <a:srgbClr val="000000"/>
                </a:solidFill>
                <a:effectLst/>
                <a:ea typeface="Calibri" panose="020F0502020204030204" pitchFamily="34" charset="0"/>
                <a:cs typeface="Times New Roman" panose="02020603050405020304" pitchFamily="18" charset="0"/>
              </a:rPr>
              <a:t>                                                                                                                                         </a:t>
            </a:r>
          </a:p>
          <a:p>
            <a:pPr marL="285750" indent="-285750">
              <a:buFont typeface="Wingdings" panose="05000000000000000000" pitchFamily="2" charset="2"/>
              <a:buChar char="Ø"/>
            </a:pPr>
            <a:r>
              <a:rPr lang="en-GB" sz="1800" dirty="0">
                <a:solidFill>
                  <a:srgbClr val="000000"/>
                </a:solidFill>
                <a:effectLst/>
                <a:ea typeface="Calibri" panose="020F0502020204030204" pitchFamily="34" charset="0"/>
                <a:cs typeface="Times New Roman" panose="02020603050405020304" pitchFamily="18" charset="0"/>
              </a:rPr>
              <a:t>The marked difference in relation to Safety Culture and Processes and Systems is that Safety Culture and Processes and Systems are not independent of one another. </a:t>
            </a:r>
          </a:p>
          <a:p>
            <a:pPr marL="285750" indent="-285750">
              <a:buFont typeface="Wingdings" panose="05000000000000000000" pitchFamily="2" charset="2"/>
              <a:buChar char="Ø"/>
            </a:pPr>
            <a:endParaRPr lang="en-GB" sz="1800" dirty="0">
              <a:solidFill>
                <a:srgbClr val="000000"/>
              </a:solidFill>
              <a:effectLst/>
              <a:ea typeface="Calibri" panose="020F0502020204030204" pitchFamily="34" charset="0"/>
              <a:cs typeface="Times New Roman" panose="02020603050405020304" pitchFamily="18" charset="0"/>
            </a:endParaRPr>
          </a:p>
          <a:p>
            <a:pPr marL="285750" indent="-285750">
              <a:buFont typeface="Wingdings" panose="05000000000000000000" pitchFamily="2" charset="2"/>
              <a:buChar char="Ø"/>
            </a:pPr>
            <a:r>
              <a:rPr lang="en-GB" sz="1800" dirty="0">
                <a:solidFill>
                  <a:srgbClr val="000000"/>
                </a:solidFill>
                <a:effectLst/>
                <a:ea typeface="Calibri" panose="020F0502020204030204" pitchFamily="34" charset="0"/>
                <a:cs typeface="Times New Roman" panose="02020603050405020304" pitchFamily="18" charset="0"/>
              </a:rPr>
              <a:t>A poor safety culture will impact processes and systems significantly. </a:t>
            </a:r>
          </a:p>
          <a:p>
            <a:pPr marL="285750" indent="-285750">
              <a:buFont typeface="Wingdings" panose="05000000000000000000" pitchFamily="2" charset="2"/>
              <a:buChar char="Ø"/>
            </a:pPr>
            <a:endParaRPr lang="en-GB" sz="1800" dirty="0">
              <a:solidFill>
                <a:srgbClr val="000000"/>
              </a:solidFill>
              <a:effectLst/>
              <a:ea typeface="Calibri" panose="020F0502020204030204" pitchFamily="34" charset="0"/>
              <a:cs typeface="Times New Roman" panose="02020603050405020304" pitchFamily="18" charset="0"/>
            </a:endParaRPr>
          </a:p>
          <a:p>
            <a:pPr marL="285750" indent="-285750">
              <a:buFont typeface="Wingdings" panose="05000000000000000000" pitchFamily="2" charset="2"/>
              <a:buChar char="Ø"/>
            </a:pPr>
            <a:r>
              <a:rPr lang="en-GB" sz="1800" dirty="0">
                <a:solidFill>
                  <a:srgbClr val="000000"/>
                </a:solidFill>
                <a:effectLst/>
                <a:ea typeface="Calibri" panose="020F0502020204030204" pitchFamily="34" charset="0"/>
                <a:cs typeface="Times New Roman" panose="02020603050405020304" pitchFamily="18" charset="0"/>
              </a:rPr>
              <a:t>A good safety culture can overcome flaws in some of the existing processes and systems.</a:t>
            </a:r>
            <a:endParaRPr lang="en-GB" sz="1800" dirty="0">
              <a:effectLst/>
              <a:ea typeface="Calibri" panose="020F0502020204030204" pitchFamily="34" charset="0"/>
              <a:cs typeface="Times New Roman" panose="02020603050405020304" pitchFamily="18" charset="0"/>
            </a:endParaRPr>
          </a:p>
          <a:p>
            <a:endParaRPr lang="en-GB" sz="1800" dirty="0"/>
          </a:p>
          <a:p>
            <a:endParaRPr lang="en-GB" sz="1800" dirty="0"/>
          </a:p>
        </p:txBody>
      </p:sp>
      <p:pic>
        <p:nvPicPr>
          <p:cNvPr id="6" name="Picture 5" descr="A light bulb with a lit up word&#10;&#10;Description automatically generated">
            <a:extLst>
              <a:ext uri="{FF2B5EF4-FFF2-40B4-BE49-F238E27FC236}">
                <a16:creationId xmlns:a16="http://schemas.microsoft.com/office/drawing/2014/main" id="{C4BA5E0A-5924-97EA-E8EC-E0F738C6E25D}"/>
              </a:ext>
            </a:extLst>
          </p:cNvPr>
          <p:cNvPicPr>
            <a:picLocks noChangeAspect="1"/>
          </p:cNvPicPr>
          <p:nvPr/>
        </p:nvPicPr>
        <p:blipFill>
          <a:blip r:embed="rId3"/>
          <a:stretch>
            <a:fillRect/>
          </a:stretch>
        </p:blipFill>
        <p:spPr>
          <a:xfrm>
            <a:off x="8029903" y="1493783"/>
            <a:ext cx="4162097" cy="4328004"/>
          </a:xfrm>
          <a:prstGeom prst="rect">
            <a:avLst/>
          </a:prstGeom>
        </p:spPr>
      </p:pic>
    </p:spTree>
    <p:extLst>
      <p:ext uri="{BB962C8B-B14F-4D97-AF65-F5344CB8AC3E}">
        <p14:creationId xmlns:p14="http://schemas.microsoft.com/office/powerpoint/2010/main" val="405860680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A075597-598D-34C6-014F-77F8C4C8ED91}"/>
              </a:ext>
            </a:extLst>
          </p:cNvPr>
          <p:cNvSpPr>
            <a:spLocks noGrp="1"/>
          </p:cNvSpPr>
          <p:nvPr>
            <p:ph type="title"/>
          </p:nvPr>
        </p:nvSpPr>
        <p:spPr>
          <a:xfrm>
            <a:off x="838200" y="-4835"/>
            <a:ext cx="10515600" cy="1325563"/>
          </a:xfrm>
        </p:spPr>
        <p:txBody>
          <a:bodyPr/>
          <a:lstStyle/>
          <a:p>
            <a:r>
              <a:rPr lang="en-GB" dirty="0"/>
              <a:t>Four Key Thoughts</a:t>
            </a:r>
          </a:p>
        </p:txBody>
      </p:sp>
      <p:sp>
        <p:nvSpPr>
          <p:cNvPr id="5" name="TextBox 4">
            <a:extLst>
              <a:ext uri="{FF2B5EF4-FFF2-40B4-BE49-F238E27FC236}">
                <a16:creationId xmlns:a16="http://schemas.microsoft.com/office/drawing/2014/main" id="{B13409C2-F0B0-9C72-99F9-3605395C0222}"/>
              </a:ext>
            </a:extLst>
          </p:cNvPr>
          <p:cNvSpPr txBox="1"/>
          <p:nvPr/>
        </p:nvSpPr>
        <p:spPr>
          <a:xfrm>
            <a:off x="221210" y="989852"/>
            <a:ext cx="7701127" cy="6463308"/>
          </a:xfrm>
          <a:prstGeom prst="rect">
            <a:avLst/>
          </a:prstGeom>
          <a:noFill/>
        </p:spPr>
        <p:txBody>
          <a:bodyPr wrap="square">
            <a:spAutoFit/>
          </a:bodyPr>
          <a:lstStyle/>
          <a:p>
            <a:r>
              <a:rPr lang="en-GB" sz="1800" dirty="0"/>
              <a:t>Is improving safety culture to broad and difficult a subject or are engineers and consultants happy to perform within their comfort zone?</a:t>
            </a:r>
          </a:p>
          <a:p>
            <a:endParaRPr lang="en-GB" dirty="0"/>
          </a:p>
          <a:p>
            <a:pPr marL="285750" indent="-285750">
              <a:buFont typeface="Wingdings" panose="05000000000000000000" pitchFamily="2" charset="2"/>
              <a:buChar char="Ø"/>
            </a:pPr>
            <a:r>
              <a:rPr lang="en-GB" sz="1800" dirty="0">
                <a:solidFill>
                  <a:srgbClr val="000000"/>
                </a:solidFill>
                <a:effectLst/>
                <a:ea typeface="Calibri" panose="020F0502020204030204" pitchFamily="34" charset="0"/>
                <a:cs typeface="Times New Roman" panose="02020603050405020304" pitchFamily="18" charset="0"/>
              </a:rPr>
              <a:t>Engineers and consultants like to deal with hard, tangible issues and safety culture can feel at times like pushing jelly up hill.</a:t>
            </a:r>
          </a:p>
          <a:p>
            <a:pPr marL="285750" indent="-285750">
              <a:buFont typeface="Wingdings" panose="05000000000000000000" pitchFamily="2" charset="2"/>
              <a:buChar char="Ø"/>
            </a:pPr>
            <a:endParaRPr lang="en-GB" sz="1800" dirty="0">
              <a:solidFill>
                <a:srgbClr val="000000"/>
              </a:solidFill>
              <a:effectLst/>
              <a:ea typeface="Calibri" panose="020F0502020204030204" pitchFamily="34" charset="0"/>
              <a:cs typeface="Times New Roman" panose="02020603050405020304" pitchFamily="18" charset="0"/>
            </a:endParaRPr>
          </a:p>
          <a:p>
            <a:pPr marL="285750" indent="-285750">
              <a:buFont typeface="Wingdings" panose="05000000000000000000" pitchFamily="2" charset="2"/>
              <a:buChar char="Ø"/>
            </a:pPr>
            <a:r>
              <a:rPr lang="en-GB" sz="1800" dirty="0">
                <a:solidFill>
                  <a:srgbClr val="000000"/>
                </a:solidFill>
                <a:effectLst/>
                <a:ea typeface="Calibri" panose="020F0502020204030204" pitchFamily="34" charset="0"/>
                <a:cs typeface="Times New Roman" panose="02020603050405020304" pitchFamily="18" charset="0"/>
              </a:rPr>
              <a:t>Selling the product is one thing but it needs to be workable for the organisation, suitable for their available resource and ideally something they can take ownership of. </a:t>
            </a:r>
          </a:p>
          <a:p>
            <a:endParaRPr lang="en-GB" sz="1800" dirty="0">
              <a:solidFill>
                <a:srgbClr val="000000"/>
              </a:solidFill>
              <a:effectLst/>
              <a:ea typeface="Calibri" panose="020F0502020204030204" pitchFamily="34" charset="0"/>
              <a:cs typeface="Times New Roman" panose="02020603050405020304" pitchFamily="18" charset="0"/>
            </a:endParaRPr>
          </a:p>
          <a:p>
            <a:pPr marL="285750" indent="-285750">
              <a:buFont typeface="Wingdings" panose="05000000000000000000" pitchFamily="2" charset="2"/>
              <a:buChar char="Ø"/>
            </a:pPr>
            <a:r>
              <a:rPr lang="en-GB" sz="1800" dirty="0">
                <a:solidFill>
                  <a:srgbClr val="000000"/>
                </a:solidFill>
                <a:effectLst/>
                <a:ea typeface="Calibri" panose="020F0502020204030204" pitchFamily="34" charset="0"/>
                <a:cs typeface="Times New Roman" panose="02020603050405020304" pitchFamily="18" charset="0"/>
              </a:rPr>
              <a:t>Consultants need to be careful not to make some of their topic’s academic exercises or too complex for operational staff and hence put a strain on already stretched resource. They should also be conscious of the overall prize, safe operations!        </a:t>
            </a:r>
          </a:p>
          <a:p>
            <a:r>
              <a:rPr lang="en-GB" sz="1800" dirty="0">
                <a:solidFill>
                  <a:srgbClr val="000000"/>
                </a:solidFill>
                <a:effectLst/>
                <a:ea typeface="Calibri" panose="020F0502020204030204" pitchFamily="34" charset="0"/>
                <a:cs typeface="Times New Roman" panose="02020603050405020304" pitchFamily="18" charset="0"/>
              </a:rPr>
              <a:t>                                                                                        </a:t>
            </a:r>
          </a:p>
          <a:p>
            <a:pPr marL="285750" indent="-285750">
              <a:buFont typeface="Wingdings" panose="05000000000000000000" pitchFamily="2" charset="2"/>
              <a:buChar char="Ø"/>
            </a:pPr>
            <a:r>
              <a:rPr lang="en-GB" sz="1800" dirty="0">
                <a:solidFill>
                  <a:srgbClr val="000000"/>
                </a:solidFill>
                <a:effectLst/>
                <a:ea typeface="Calibri" panose="020F0502020204030204" pitchFamily="34" charset="0"/>
                <a:cs typeface="Times New Roman" panose="02020603050405020304" pitchFamily="18" charset="0"/>
              </a:rPr>
              <a:t>Internally, engineering teams need to have human factors as an integral requirement in all project activity and modifications. </a:t>
            </a:r>
          </a:p>
          <a:p>
            <a:pPr marL="285750" indent="-285750">
              <a:buFont typeface="Wingdings" panose="05000000000000000000" pitchFamily="2" charset="2"/>
              <a:buChar char="Ø"/>
            </a:pPr>
            <a:endParaRPr lang="en-GB" sz="1800" dirty="0">
              <a:solidFill>
                <a:srgbClr val="000000"/>
              </a:solidFill>
              <a:effectLst/>
              <a:ea typeface="Calibri" panose="020F0502020204030204" pitchFamily="34" charset="0"/>
              <a:cs typeface="Times New Roman" panose="02020603050405020304" pitchFamily="18" charset="0"/>
            </a:endParaRPr>
          </a:p>
          <a:p>
            <a:pPr marL="285750" indent="-285750">
              <a:buFont typeface="Wingdings" panose="05000000000000000000" pitchFamily="2" charset="2"/>
              <a:buChar char="Ø"/>
            </a:pPr>
            <a:r>
              <a:rPr lang="en-GB" sz="1800" b="1" dirty="0">
                <a:solidFill>
                  <a:srgbClr val="000000"/>
                </a:solidFill>
                <a:effectLst/>
                <a:ea typeface="Calibri" panose="020F0502020204030204" pitchFamily="34" charset="0"/>
                <a:cs typeface="Times New Roman" panose="02020603050405020304" pitchFamily="18" charset="0"/>
              </a:rPr>
              <a:t>From the authors perspective the engineering world has not embraced safety culture as well as they could have done, and it is not naturally an integral part of the work they deliver.</a:t>
            </a:r>
            <a:endParaRPr lang="en-GB" sz="1800" dirty="0">
              <a:effectLst/>
              <a:ea typeface="Calibri" panose="020F0502020204030204" pitchFamily="34" charset="0"/>
              <a:cs typeface="Times New Roman" panose="02020603050405020304" pitchFamily="18" charset="0"/>
            </a:endParaRPr>
          </a:p>
          <a:p>
            <a:endParaRPr lang="en-GB" sz="1800" dirty="0"/>
          </a:p>
          <a:p>
            <a:endParaRPr lang="en-GB" sz="1800" dirty="0"/>
          </a:p>
        </p:txBody>
      </p:sp>
      <p:pic>
        <p:nvPicPr>
          <p:cNvPr id="4" name="Picture 3" descr="A logo of a puzzle ball&#10;&#10;Description automatically generated">
            <a:extLst>
              <a:ext uri="{FF2B5EF4-FFF2-40B4-BE49-F238E27FC236}">
                <a16:creationId xmlns:a16="http://schemas.microsoft.com/office/drawing/2014/main" id="{148DF439-C40D-0F46-3868-ED3D652DD3B4}"/>
              </a:ext>
            </a:extLst>
          </p:cNvPr>
          <p:cNvPicPr>
            <a:picLocks noChangeAspect="1"/>
          </p:cNvPicPr>
          <p:nvPr/>
        </p:nvPicPr>
        <p:blipFill>
          <a:blip r:embed="rId2"/>
          <a:stretch>
            <a:fillRect/>
          </a:stretch>
        </p:blipFill>
        <p:spPr>
          <a:xfrm>
            <a:off x="11166650" y="0"/>
            <a:ext cx="1025350" cy="972407"/>
          </a:xfrm>
          <a:prstGeom prst="rect">
            <a:avLst/>
          </a:prstGeom>
        </p:spPr>
      </p:pic>
      <p:pic>
        <p:nvPicPr>
          <p:cNvPr id="7" name="Picture 6" descr="A road with signs on it&#10;&#10;Description automatically generated">
            <a:extLst>
              <a:ext uri="{FF2B5EF4-FFF2-40B4-BE49-F238E27FC236}">
                <a16:creationId xmlns:a16="http://schemas.microsoft.com/office/drawing/2014/main" id="{7A2B5957-5168-8641-AA73-2EBDB04C8BA8}"/>
              </a:ext>
            </a:extLst>
          </p:cNvPr>
          <p:cNvPicPr>
            <a:picLocks noChangeAspect="1"/>
          </p:cNvPicPr>
          <p:nvPr/>
        </p:nvPicPr>
        <p:blipFill>
          <a:blip r:embed="rId3"/>
          <a:stretch>
            <a:fillRect/>
          </a:stretch>
        </p:blipFill>
        <p:spPr>
          <a:xfrm>
            <a:off x="7796976" y="1860331"/>
            <a:ext cx="4395024" cy="3720662"/>
          </a:xfrm>
          <a:prstGeom prst="rect">
            <a:avLst/>
          </a:prstGeom>
        </p:spPr>
      </p:pic>
    </p:spTree>
    <p:extLst>
      <p:ext uri="{BB962C8B-B14F-4D97-AF65-F5344CB8AC3E}">
        <p14:creationId xmlns:p14="http://schemas.microsoft.com/office/powerpoint/2010/main" val="211809510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A075597-598D-34C6-014F-77F8C4C8ED91}"/>
              </a:ext>
            </a:extLst>
          </p:cNvPr>
          <p:cNvSpPr>
            <a:spLocks noGrp="1"/>
          </p:cNvSpPr>
          <p:nvPr>
            <p:ph type="title"/>
          </p:nvPr>
        </p:nvSpPr>
        <p:spPr/>
        <p:txBody>
          <a:bodyPr/>
          <a:lstStyle/>
          <a:p>
            <a:r>
              <a:rPr lang="en-GB" dirty="0"/>
              <a:t>Four Key Thoughts</a:t>
            </a:r>
          </a:p>
        </p:txBody>
      </p:sp>
      <p:sp>
        <p:nvSpPr>
          <p:cNvPr id="5" name="TextBox 4">
            <a:extLst>
              <a:ext uri="{FF2B5EF4-FFF2-40B4-BE49-F238E27FC236}">
                <a16:creationId xmlns:a16="http://schemas.microsoft.com/office/drawing/2014/main" id="{B13409C2-F0B0-9C72-99F9-3605395C0222}"/>
              </a:ext>
            </a:extLst>
          </p:cNvPr>
          <p:cNvSpPr txBox="1"/>
          <p:nvPr/>
        </p:nvSpPr>
        <p:spPr>
          <a:xfrm>
            <a:off x="276225" y="1320728"/>
            <a:ext cx="7017954" cy="5078313"/>
          </a:xfrm>
          <a:prstGeom prst="rect">
            <a:avLst/>
          </a:prstGeom>
          <a:noFill/>
        </p:spPr>
        <p:txBody>
          <a:bodyPr wrap="square">
            <a:spAutoFit/>
          </a:bodyPr>
          <a:lstStyle/>
          <a:p>
            <a:endParaRPr lang="en-GB" sz="1800" dirty="0"/>
          </a:p>
          <a:p>
            <a:r>
              <a:rPr lang="en-GB" sz="1800" dirty="0"/>
              <a:t>Does improving safety culture need to be an academic exercise or can we simplify and, what does improvement look like?</a:t>
            </a:r>
          </a:p>
          <a:p>
            <a:endParaRPr lang="en-GB" dirty="0"/>
          </a:p>
          <a:p>
            <a:pPr marL="285750" indent="-285750">
              <a:buFont typeface="Wingdings" panose="05000000000000000000" pitchFamily="2" charset="2"/>
              <a:buChar char="Ø"/>
            </a:pPr>
            <a:r>
              <a:rPr lang="en-GB" sz="1800" dirty="0">
                <a:solidFill>
                  <a:srgbClr val="000000"/>
                </a:solidFill>
                <a:effectLst/>
                <a:ea typeface="Calibri" panose="020F0502020204030204" pitchFamily="34" charset="0"/>
                <a:cs typeface="Times New Roman" panose="02020603050405020304" pitchFamily="18" charset="0"/>
              </a:rPr>
              <a:t>Improving safety culture is about rigour and discipline and striving for excellence in all areas.</a:t>
            </a:r>
          </a:p>
          <a:p>
            <a:pPr marL="285750" indent="-285750">
              <a:buFont typeface="Wingdings" panose="05000000000000000000" pitchFamily="2" charset="2"/>
              <a:buChar char="Ø"/>
            </a:pPr>
            <a:endParaRPr lang="en-GB" sz="1800" dirty="0">
              <a:solidFill>
                <a:srgbClr val="000000"/>
              </a:solidFill>
              <a:effectLst/>
              <a:ea typeface="Calibri" panose="020F0502020204030204" pitchFamily="34" charset="0"/>
              <a:cs typeface="Times New Roman" panose="02020603050405020304" pitchFamily="18" charset="0"/>
            </a:endParaRPr>
          </a:p>
          <a:p>
            <a:pPr marL="285750" indent="-285750">
              <a:buFont typeface="Wingdings" panose="05000000000000000000" pitchFamily="2" charset="2"/>
              <a:buChar char="Ø"/>
            </a:pPr>
            <a:r>
              <a:rPr lang="en-GB" sz="1800" dirty="0">
                <a:solidFill>
                  <a:srgbClr val="000000"/>
                </a:solidFill>
                <a:effectLst/>
                <a:ea typeface="Calibri" panose="020F0502020204030204" pitchFamily="34" charset="0"/>
                <a:cs typeface="Times New Roman" panose="02020603050405020304" pitchFamily="18" charset="0"/>
              </a:rPr>
              <a:t>Striving for excellence should not be about complexity, we should simplify where possible. </a:t>
            </a:r>
          </a:p>
          <a:p>
            <a:endParaRPr lang="en-GB" sz="1800" dirty="0">
              <a:solidFill>
                <a:srgbClr val="000000"/>
              </a:solidFill>
              <a:effectLst/>
              <a:ea typeface="Calibri" panose="020F0502020204030204" pitchFamily="34" charset="0"/>
              <a:cs typeface="Times New Roman" panose="02020603050405020304" pitchFamily="18" charset="0"/>
            </a:endParaRPr>
          </a:p>
          <a:p>
            <a:pPr marL="285750" indent="-285750">
              <a:buFont typeface="Wingdings" panose="05000000000000000000" pitchFamily="2" charset="2"/>
              <a:buChar char="Ø"/>
            </a:pPr>
            <a:r>
              <a:rPr lang="en-GB" sz="1800" dirty="0">
                <a:solidFill>
                  <a:srgbClr val="000000"/>
                </a:solidFill>
                <a:effectLst/>
                <a:ea typeface="Calibri" panose="020F0502020204030204" pitchFamily="34" charset="0"/>
                <a:cs typeface="Times New Roman" panose="02020603050405020304" pitchFamily="18" charset="0"/>
              </a:rPr>
              <a:t>We also need to be conscious we are working in a very dynamic business and organisations change all the time. Personnel come and go. Problems and issues arise and change regularly. </a:t>
            </a:r>
          </a:p>
          <a:p>
            <a:pPr marL="285750" indent="-285750">
              <a:buFont typeface="Wingdings" panose="05000000000000000000" pitchFamily="2" charset="2"/>
              <a:buChar char="Ø"/>
            </a:pPr>
            <a:endParaRPr lang="en-GB" sz="1800" dirty="0">
              <a:solidFill>
                <a:srgbClr val="000000"/>
              </a:solidFill>
              <a:effectLst/>
              <a:ea typeface="Calibri" panose="020F0502020204030204" pitchFamily="34" charset="0"/>
              <a:cs typeface="Times New Roman" panose="02020603050405020304" pitchFamily="18" charset="0"/>
            </a:endParaRPr>
          </a:p>
          <a:p>
            <a:pPr marL="285750" indent="-285750">
              <a:buFont typeface="Wingdings" panose="05000000000000000000" pitchFamily="2" charset="2"/>
              <a:buChar char="Ø"/>
            </a:pPr>
            <a:r>
              <a:rPr lang="en-GB" sz="1800" dirty="0">
                <a:solidFill>
                  <a:srgbClr val="000000"/>
                </a:solidFill>
                <a:effectLst/>
                <a:ea typeface="Calibri" panose="020F0502020204030204" pitchFamily="34" charset="0"/>
                <a:cs typeface="Times New Roman" panose="02020603050405020304" pitchFamily="18" charset="0"/>
              </a:rPr>
              <a:t>We need to provide a plan, but we need to be agile and able to respond to changing circumstances. The plan needs to be a live document and a rolling commitment. Not a tick box annual exercise.</a:t>
            </a:r>
            <a:endParaRPr lang="en-GB" sz="1800" dirty="0">
              <a:effectLst/>
              <a:ea typeface="Calibri" panose="020F0502020204030204" pitchFamily="34" charset="0"/>
              <a:cs typeface="Times New Roman" panose="02020603050405020304" pitchFamily="18" charset="0"/>
            </a:endParaRPr>
          </a:p>
          <a:p>
            <a:endParaRPr lang="en-GB" sz="1800" dirty="0"/>
          </a:p>
        </p:txBody>
      </p:sp>
      <p:pic>
        <p:nvPicPr>
          <p:cNvPr id="4" name="Picture 3" descr="A logo of a puzzle ball&#10;&#10;Description automatically generated">
            <a:extLst>
              <a:ext uri="{FF2B5EF4-FFF2-40B4-BE49-F238E27FC236}">
                <a16:creationId xmlns:a16="http://schemas.microsoft.com/office/drawing/2014/main" id="{9B2EC368-A264-F222-C437-80D59EC34211}"/>
              </a:ext>
            </a:extLst>
          </p:cNvPr>
          <p:cNvPicPr>
            <a:picLocks noChangeAspect="1"/>
          </p:cNvPicPr>
          <p:nvPr/>
        </p:nvPicPr>
        <p:blipFill>
          <a:blip r:embed="rId2"/>
          <a:stretch>
            <a:fillRect/>
          </a:stretch>
        </p:blipFill>
        <p:spPr>
          <a:xfrm>
            <a:off x="11166650" y="0"/>
            <a:ext cx="1025350" cy="972407"/>
          </a:xfrm>
          <a:prstGeom prst="rect">
            <a:avLst/>
          </a:prstGeom>
        </p:spPr>
      </p:pic>
      <p:pic>
        <p:nvPicPr>
          <p:cNvPr id="6" name="Picture 5" descr="A hand holding a pen&#10;&#10;Description automatically generated">
            <a:extLst>
              <a:ext uri="{FF2B5EF4-FFF2-40B4-BE49-F238E27FC236}">
                <a16:creationId xmlns:a16="http://schemas.microsoft.com/office/drawing/2014/main" id="{6F3FC3FE-D313-7AFD-32AA-4764E15AF3F2}"/>
              </a:ext>
            </a:extLst>
          </p:cNvPr>
          <p:cNvPicPr>
            <a:picLocks noChangeAspect="1"/>
          </p:cNvPicPr>
          <p:nvPr/>
        </p:nvPicPr>
        <p:blipFill>
          <a:blip r:embed="rId3"/>
          <a:stretch>
            <a:fillRect/>
          </a:stretch>
        </p:blipFill>
        <p:spPr>
          <a:xfrm>
            <a:off x="7632078" y="2299308"/>
            <a:ext cx="4559921" cy="3039947"/>
          </a:xfrm>
          <a:prstGeom prst="rect">
            <a:avLst/>
          </a:prstGeom>
        </p:spPr>
      </p:pic>
    </p:spTree>
    <p:extLst>
      <p:ext uri="{BB962C8B-B14F-4D97-AF65-F5344CB8AC3E}">
        <p14:creationId xmlns:p14="http://schemas.microsoft.com/office/powerpoint/2010/main" val="176416910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A075597-598D-34C6-014F-77F8C4C8ED91}"/>
              </a:ext>
            </a:extLst>
          </p:cNvPr>
          <p:cNvSpPr>
            <a:spLocks noGrp="1"/>
          </p:cNvSpPr>
          <p:nvPr>
            <p:ph type="title"/>
          </p:nvPr>
        </p:nvSpPr>
        <p:spPr/>
        <p:txBody>
          <a:bodyPr/>
          <a:lstStyle/>
          <a:p>
            <a:r>
              <a:rPr lang="en-GB" dirty="0"/>
              <a:t>Summary</a:t>
            </a:r>
          </a:p>
        </p:txBody>
      </p:sp>
      <p:sp>
        <p:nvSpPr>
          <p:cNvPr id="5" name="TextBox 4">
            <a:extLst>
              <a:ext uri="{FF2B5EF4-FFF2-40B4-BE49-F238E27FC236}">
                <a16:creationId xmlns:a16="http://schemas.microsoft.com/office/drawing/2014/main" id="{B13409C2-F0B0-9C72-99F9-3605395C0222}"/>
              </a:ext>
            </a:extLst>
          </p:cNvPr>
          <p:cNvSpPr txBox="1"/>
          <p:nvPr/>
        </p:nvSpPr>
        <p:spPr>
          <a:xfrm>
            <a:off x="297246" y="847763"/>
            <a:ext cx="7017954" cy="5909310"/>
          </a:xfrm>
          <a:prstGeom prst="rect">
            <a:avLst/>
          </a:prstGeom>
          <a:noFill/>
        </p:spPr>
        <p:txBody>
          <a:bodyPr wrap="square">
            <a:spAutoFit/>
          </a:bodyPr>
          <a:lstStyle/>
          <a:p>
            <a:endParaRPr lang="en-GB" sz="1800" dirty="0"/>
          </a:p>
          <a:p>
            <a:endParaRPr lang="en-GB" dirty="0"/>
          </a:p>
          <a:p>
            <a:pPr marL="285750" indent="-285750">
              <a:buFont typeface="Wingdings" panose="05000000000000000000" pitchFamily="2" charset="2"/>
              <a:buChar char="Ø"/>
            </a:pPr>
            <a:r>
              <a:rPr lang="en-GB" sz="1800" dirty="0">
                <a:solidFill>
                  <a:srgbClr val="000000"/>
                </a:solidFill>
                <a:effectLst/>
                <a:ea typeface="Calibri" panose="020F0502020204030204" pitchFamily="34" charset="0"/>
                <a:cs typeface="Times New Roman" panose="02020603050405020304" pitchFamily="18" charset="0"/>
              </a:rPr>
              <a:t>Board members and senior leadership need to be seen to be leading this journey. </a:t>
            </a:r>
          </a:p>
          <a:p>
            <a:pPr marL="285750" indent="-285750">
              <a:buFont typeface="Wingdings" panose="05000000000000000000" pitchFamily="2" charset="2"/>
              <a:buChar char="Ø"/>
            </a:pPr>
            <a:endParaRPr lang="en-GB" sz="1800" dirty="0">
              <a:solidFill>
                <a:srgbClr val="000000"/>
              </a:solidFill>
              <a:effectLst/>
              <a:ea typeface="Calibri" panose="020F0502020204030204" pitchFamily="34" charset="0"/>
              <a:cs typeface="Times New Roman" panose="02020603050405020304" pitchFamily="18" charset="0"/>
            </a:endParaRPr>
          </a:p>
          <a:p>
            <a:pPr marL="285750" indent="-285750">
              <a:buFont typeface="Wingdings" panose="05000000000000000000" pitchFamily="2" charset="2"/>
              <a:buChar char="Ø"/>
            </a:pPr>
            <a:r>
              <a:rPr lang="en-GB" sz="1800" dirty="0">
                <a:solidFill>
                  <a:srgbClr val="000000"/>
                </a:solidFill>
                <a:effectLst/>
                <a:ea typeface="Calibri" panose="020F0502020204030204" pitchFamily="34" charset="0"/>
                <a:cs typeface="Times New Roman" panose="02020603050405020304" pitchFamily="18" charset="0"/>
              </a:rPr>
              <a:t>Safety and safety culture is not managed in offices. </a:t>
            </a:r>
          </a:p>
          <a:p>
            <a:pPr marL="285750" indent="-285750">
              <a:buFont typeface="Wingdings" panose="05000000000000000000" pitchFamily="2" charset="2"/>
              <a:buChar char="Ø"/>
            </a:pPr>
            <a:endParaRPr lang="en-GB" sz="1800" dirty="0">
              <a:solidFill>
                <a:srgbClr val="000000"/>
              </a:solidFill>
              <a:effectLst/>
              <a:ea typeface="Calibri" panose="020F0502020204030204" pitchFamily="34" charset="0"/>
              <a:cs typeface="Times New Roman" panose="02020603050405020304" pitchFamily="18" charset="0"/>
            </a:endParaRPr>
          </a:p>
          <a:p>
            <a:pPr marL="285750" indent="-285750">
              <a:buFont typeface="Wingdings" panose="05000000000000000000" pitchFamily="2" charset="2"/>
              <a:buChar char="Ø"/>
            </a:pPr>
            <a:r>
              <a:rPr lang="en-GB" sz="1800" dirty="0">
                <a:solidFill>
                  <a:srgbClr val="000000"/>
                </a:solidFill>
                <a:effectLst/>
                <a:ea typeface="Calibri" panose="020F0502020204030204" pitchFamily="34" charset="0"/>
                <a:cs typeface="Times New Roman" panose="02020603050405020304" pitchFamily="18" charset="0"/>
              </a:rPr>
              <a:t>We need to up our game in the pursuit of a great safety culture. </a:t>
            </a:r>
          </a:p>
          <a:p>
            <a:pPr marL="285750" indent="-285750">
              <a:buFont typeface="Wingdings" panose="05000000000000000000" pitchFamily="2" charset="2"/>
              <a:buChar char="Ø"/>
            </a:pPr>
            <a:endParaRPr lang="en-GB" sz="1800" dirty="0">
              <a:solidFill>
                <a:srgbClr val="000000"/>
              </a:solidFill>
              <a:effectLst/>
              <a:ea typeface="Calibri" panose="020F0502020204030204" pitchFamily="34" charset="0"/>
              <a:cs typeface="Times New Roman" panose="02020603050405020304" pitchFamily="18" charset="0"/>
            </a:endParaRPr>
          </a:p>
          <a:p>
            <a:pPr marL="285750" indent="-285750">
              <a:buFont typeface="Wingdings" panose="05000000000000000000" pitchFamily="2" charset="2"/>
              <a:buChar char="Ø"/>
            </a:pPr>
            <a:r>
              <a:rPr lang="en-GB" sz="1800" dirty="0">
                <a:solidFill>
                  <a:srgbClr val="000000"/>
                </a:solidFill>
                <a:effectLst/>
                <a:ea typeface="Calibri" panose="020F0502020204030204" pitchFamily="34" charset="0"/>
                <a:cs typeface="Times New Roman" panose="02020603050405020304" pitchFamily="18" charset="0"/>
              </a:rPr>
              <a:t>No magic bullets, incredibly hard work.</a:t>
            </a:r>
          </a:p>
          <a:p>
            <a:pPr marL="285750" indent="-285750">
              <a:buFont typeface="Wingdings" panose="05000000000000000000" pitchFamily="2" charset="2"/>
              <a:buChar char="Ø"/>
            </a:pPr>
            <a:endParaRPr lang="en-GB" sz="1800" dirty="0">
              <a:solidFill>
                <a:srgbClr val="000000"/>
              </a:solidFill>
              <a:effectLst/>
              <a:ea typeface="Calibri" panose="020F0502020204030204" pitchFamily="34" charset="0"/>
              <a:cs typeface="Times New Roman" panose="02020603050405020304" pitchFamily="18" charset="0"/>
            </a:endParaRPr>
          </a:p>
          <a:p>
            <a:pPr marL="285750" indent="-285750">
              <a:buFont typeface="Wingdings" panose="05000000000000000000" pitchFamily="2" charset="2"/>
              <a:buChar char="Ø"/>
            </a:pPr>
            <a:r>
              <a:rPr lang="en-GB" dirty="0">
                <a:solidFill>
                  <a:srgbClr val="000000"/>
                </a:solidFill>
                <a:ea typeface="Calibri" panose="020F0502020204030204" pitchFamily="34" charset="0"/>
                <a:cs typeface="Times New Roman" panose="02020603050405020304" pitchFamily="18" charset="0"/>
              </a:rPr>
              <a:t>Demand excellence in the performance of every task.</a:t>
            </a:r>
          </a:p>
          <a:p>
            <a:pPr marL="285750" indent="-285750">
              <a:buFont typeface="Wingdings" panose="05000000000000000000" pitchFamily="2" charset="2"/>
              <a:buChar char="Ø"/>
            </a:pPr>
            <a:endParaRPr lang="en-GB" dirty="0">
              <a:solidFill>
                <a:srgbClr val="000000"/>
              </a:solidFill>
              <a:ea typeface="Calibri" panose="020F0502020204030204" pitchFamily="34" charset="0"/>
              <a:cs typeface="Times New Roman" panose="02020603050405020304" pitchFamily="18" charset="0"/>
            </a:endParaRPr>
          </a:p>
          <a:p>
            <a:pPr marL="285750" indent="-285750">
              <a:buFont typeface="Wingdings" panose="05000000000000000000" pitchFamily="2" charset="2"/>
              <a:buChar char="Ø"/>
            </a:pPr>
            <a:r>
              <a:rPr lang="en-GB" sz="1800" dirty="0">
                <a:solidFill>
                  <a:srgbClr val="000000"/>
                </a:solidFill>
                <a:effectLst/>
                <a:ea typeface="Calibri" panose="020F0502020204030204" pitchFamily="34" charset="0"/>
                <a:cs typeface="Times New Roman" panose="02020603050405020304" pitchFamily="18" charset="0"/>
              </a:rPr>
              <a:t>Clear vision, plan and communication is key to making the journey. Climate surveys and behavioural safety programmes are all well and good but only offer a few pieces to a large jigsaw.</a:t>
            </a:r>
          </a:p>
          <a:p>
            <a:pPr marL="285750" indent="-285750">
              <a:buFont typeface="Wingdings" panose="05000000000000000000" pitchFamily="2" charset="2"/>
              <a:buChar char="Ø"/>
            </a:pPr>
            <a:endParaRPr lang="en-GB" dirty="0">
              <a:solidFill>
                <a:srgbClr val="000000"/>
              </a:solidFill>
              <a:cs typeface="Times New Roman" panose="02020603050405020304" pitchFamily="18" charset="0"/>
            </a:endParaRPr>
          </a:p>
          <a:p>
            <a:pPr marL="285750" indent="-285750">
              <a:buFont typeface="Wingdings" panose="05000000000000000000" pitchFamily="2" charset="2"/>
              <a:buChar char="Ø"/>
            </a:pPr>
            <a:r>
              <a:rPr lang="en-GB" sz="1800" dirty="0">
                <a:solidFill>
                  <a:srgbClr val="000000"/>
                </a:solidFill>
                <a:cs typeface="Times New Roman" panose="02020603050405020304" pitchFamily="18" charset="0"/>
              </a:rPr>
              <a:t>We need to ensure there is balance between hard and soft systems.</a:t>
            </a:r>
          </a:p>
          <a:p>
            <a:pPr marL="285750" indent="-285750">
              <a:buFont typeface="Wingdings" panose="05000000000000000000" pitchFamily="2" charset="2"/>
              <a:buChar char="Ø"/>
            </a:pPr>
            <a:endParaRPr lang="en-GB" dirty="0">
              <a:solidFill>
                <a:srgbClr val="000000"/>
              </a:solidFill>
              <a:cs typeface="Times New Roman" panose="02020603050405020304" pitchFamily="18" charset="0"/>
            </a:endParaRPr>
          </a:p>
          <a:p>
            <a:pPr marL="285750" indent="-285750">
              <a:buFont typeface="Wingdings" panose="05000000000000000000" pitchFamily="2" charset="2"/>
              <a:buChar char="Ø"/>
            </a:pPr>
            <a:r>
              <a:rPr lang="en-GB" sz="1800" b="1" dirty="0">
                <a:solidFill>
                  <a:srgbClr val="000000"/>
                </a:solidFill>
                <a:cs typeface="Times New Roman" panose="02020603050405020304" pitchFamily="18" charset="0"/>
              </a:rPr>
              <a:t>Can we afford not to make this journey?</a:t>
            </a:r>
          </a:p>
          <a:p>
            <a:pPr marL="285750" indent="-285750">
              <a:buFont typeface="Wingdings" panose="05000000000000000000" pitchFamily="2" charset="2"/>
              <a:buChar char="Ø"/>
            </a:pPr>
            <a:endParaRPr lang="en-GB" sz="1800" dirty="0"/>
          </a:p>
        </p:txBody>
      </p:sp>
      <p:pic>
        <p:nvPicPr>
          <p:cNvPr id="4" name="Picture 3" descr="A logo of a puzzle ball&#10;&#10;Description automatically generated">
            <a:extLst>
              <a:ext uri="{FF2B5EF4-FFF2-40B4-BE49-F238E27FC236}">
                <a16:creationId xmlns:a16="http://schemas.microsoft.com/office/drawing/2014/main" id="{9B2EC368-A264-F222-C437-80D59EC34211}"/>
              </a:ext>
            </a:extLst>
          </p:cNvPr>
          <p:cNvPicPr>
            <a:picLocks noChangeAspect="1"/>
          </p:cNvPicPr>
          <p:nvPr/>
        </p:nvPicPr>
        <p:blipFill>
          <a:blip r:embed="rId2"/>
          <a:stretch>
            <a:fillRect/>
          </a:stretch>
        </p:blipFill>
        <p:spPr>
          <a:xfrm>
            <a:off x="11166650" y="0"/>
            <a:ext cx="1025350" cy="972407"/>
          </a:xfrm>
          <a:prstGeom prst="rect">
            <a:avLst/>
          </a:prstGeom>
        </p:spPr>
      </p:pic>
      <p:pic>
        <p:nvPicPr>
          <p:cNvPr id="6" name="Picture 5" descr="A conference room with chairs and a table&#10;&#10;Description automatically generated">
            <a:extLst>
              <a:ext uri="{FF2B5EF4-FFF2-40B4-BE49-F238E27FC236}">
                <a16:creationId xmlns:a16="http://schemas.microsoft.com/office/drawing/2014/main" id="{BC2AA51B-6EF8-E870-E2A4-A4CB8DFAFAAA}"/>
              </a:ext>
            </a:extLst>
          </p:cNvPr>
          <p:cNvPicPr>
            <a:picLocks noChangeAspect="1"/>
          </p:cNvPicPr>
          <p:nvPr/>
        </p:nvPicPr>
        <p:blipFill>
          <a:blip r:embed="rId3"/>
          <a:stretch>
            <a:fillRect/>
          </a:stretch>
        </p:blipFill>
        <p:spPr>
          <a:xfrm>
            <a:off x="7915704" y="1825857"/>
            <a:ext cx="4276296" cy="2977371"/>
          </a:xfrm>
          <a:prstGeom prst="rect">
            <a:avLst/>
          </a:prstGeom>
        </p:spPr>
      </p:pic>
    </p:spTree>
    <p:extLst>
      <p:ext uri="{BB962C8B-B14F-4D97-AF65-F5344CB8AC3E}">
        <p14:creationId xmlns:p14="http://schemas.microsoft.com/office/powerpoint/2010/main" val="55398512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ubtitle 4">
            <a:extLst>
              <a:ext uri="{FF2B5EF4-FFF2-40B4-BE49-F238E27FC236}">
                <a16:creationId xmlns:a16="http://schemas.microsoft.com/office/drawing/2014/main" id="{E3C40962-BA6A-43E4-97BA-511A9B90CF41}"/>
              </a:ext>
            </a:extLst>
          </p:cNvPr>
          <p:cNvSpPr>
            <a:spLocks noGrp="1"/>
          </p:cNvSpPr>
          <p:nvPr>
            <p:ph type="subTitle" idx="1"/>
          </p:nvPr>
        </p:nvSpPr>
        <p:spPr>
          <a:xfrm>
            <a:off x="7002130" y="4484691"/>
            <a:ext cx="5011410" cy="503167"/>
          </a:xfrm>
        </p:spPr>
        <p:txBody>
          <a:bodyPr rtlCol="0"/>
          <a:lstStyle/>
          <a:p>
            <a:pPr rtl="0"/>
            <a:r>
              <a:rPr lang="en-GB" dirty="0"/>
              <a:t>ronramshaw@safety-managementsolutions.com</a:t>
            </a:r>
          </a:p>
        </p:txBody>
      </p:sp>
      <p:sp>
        <p:nvSpPr>
          <p:cNvPr id="7" name="Text Placeholder 6">
            <a:extLst>
              <a:ext uri="{FF2B5EF4-FFF2-40B4-BE49-F238E27FC236}">
                <a16:creationId xmlns:a16="http://schemas.microsoft.com/office/drawing/2014/main" id="{11FDFFBF-E125-47CF-AAE0-ACC45013CE38}"/>
              </a:ext>
            </a:extLst>
          </p:cNvPr>
          <p:cNvSpPr>
            <a:spLocks noGrp="1"/>
          </p:cNvSpPr>
          <p:nvPr>
            <p:ph type="body" sz="quarter" idx="11"/>
          </p:nvPr>
        </p:nvSpPr>
        <p:spPr>
          <a:xfrm>
            <a:off x="7002320" y="5012635"/>
            <a:ext cx="4999180" cy="503238"/>
          </a:xfrm>
        </p:spPr>
        <p:txBody>
          <a:bodyPr rtlCol="0"/>
          <a:lstStyle/>
          <a:p>
            <a:pPr rtl="0"/>
            <a:r>
              <a:rPr lang="en-GB" dirty="0"/>
              <a:t>http://www.safety-managementsolutions.com</a:t>
            </a:r>
          </a:p>
        </p:txBody>
      </p:sp>
      <p:sp>
        <p:nvSpPr>
          <p:cNvPr id="6" name="Title 5">
            <a:extLst>
              <a:ext uri="{FF2B5EF4-FFF2-40B4-BE49-F238E27FC236}">
                <a16:creationId xmlns:a16="http://schemas.microsoft.com/office/drawing/2014/main" id="{95D612B9-68B9-4C9F-98FE-CEE07DB1F00D}"/>
              </a:ext>
            </a:extLst>
          </p:cNvPr>
          <p:cNvSpPr>
            <a:spLocks noGrp="1"/>
          </p:cNvSpPr>
          <p:nvPr>
            <p:ph type="title"/>
          </p:nvPr>
        </p:nvSpPr>
        <p:spPr/>
        <p:txBody>
          <a:bodyPr rtlCol="0"/>
          <a:lstStyle/>
          <a:p>
            <a:pPr rtl="0"/>
            <a:r>
              <a:rPr lang="en-GB" dirty="0"/>
              <a:t>Thank you</a:t>
            </a:r>
          </a:p>
        </p:txBody>
      </p:sp>
      <p:pic>
        <p:nvPicPr>
          <p:cNvPr id="8" name="Picture Placeholder 7" descr="A person in a factory&#10;&#10;Description automatically generated">
            <a:extLst>
              <a:ext uri="{FF2B5EF4-FFF2-40B4-BE49-F238E27FC236}">
                <a16:creationId xmlns:a16="http://schemas.microsoft.com/office/drawing/2014/main" id="{7550FB57-0251-3551-0468-36AF4EEB6E50}"/>
              </a:ext>
            </a:extLst>
          </p:cNvPr>
          <p:cNvPicPr>
            <a:picLocks noGrp="1" noChangeAspect="1"/>
          </p:cNvPicPr>
          <p:nvPr>
            <p:ph type="pic" sz="quarter" idx="10"/>
          </p:nvPr>
        </p:nvPicPr>
        <p:blipFill>
          <a:blip r:embed="rId3"/>
          <a:srcRect l="16733" r="16733"/>
          <a:stretch>
            <a:fillRect/>
          </a:stretch>
        </p:blipFill>
        <p:spPr/>
      </p:pic>
    </p:spTree>
    <p:extLst>
      <p:ext uri="{BB962C8B-B14F-4D97-AF65-F5344CB8AC3E}">
        <p14:creationId xmlns:p14="http://schemas.microsoft.com/office/powerpoint/2010/main" val="112477953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ABA029F2-FD89-7D6E-AC7C-A73EFAB9D47E}"/>
              </a:ext>
            </a:extLst>
          </p:cNvPr>
          <p:cNvSpPr>
            <a:spLocks noGrp="1"/>
          </p:cNvSpPr>
          <p:nvPr>
            <p:ph idx="1"/>
          </p:nvPr>
        </p:nvSpPr>
        <p:spPr>
          <a:xfrm>
            <a:off x="838200" y="1584000"/>
            <a:ext cx="9850012" cy="4626778"/>
          </a:xfrm>
        </p:spPr>
        <p:txBody>
          <a:bodyPr>
            <a:normAutofit fontScale="92500" lnSpcReduction="20000"/>
          </a:bodyPr>
          <a:lstStyle/>
          <a:p>
            <a:pPr marL="342900" indent="-342900">
              <a:buFont typeface="Wingdings" panose="05000000000000000000" pitchFamily="2" charset="2"/>
              <a:buChar char="Ø"/>
            </a:pPr>
            <a:r>
              <a:rPr lang="en-GB" dirty="0"/>
              <a:t>40 years in the major hazards arena</a:t>
            </a:r>
          </a:p>
          <a:p>
            <a:pPr marL="342900" indent="-342900">
              <a:buFont typeface="Wingdings" panose="05000000000000000000" pitchFamily="2" charset="2"/>
              <a:buChar char="Ø"/>
            </a:pPr>
            <a:endParaRPr lang="en-GB" dirty="0"/>
          </a:p>
          <a:p>
            <a:pPr marL="342900" indent="-342900">
              <a:buFont typeface="Wingdings" panose="05000000000000000000" pitchFamily="2" charset="2"/>
              <a:buChar char="Ø"/>
            </a:pPr>
            <a:r>
              <a:rPr lang="en-GB" dirty="0"/>
              <a:t>4 key questions</a:t>
            </a:r>
          </a:p>
          <a:p>
            <a:pPr marL="342900" indent="-342900">
              <a:buFont typeface="Wingdings" panose="05000000000000000000" pitchFamily="2" charset="2"/>
              <a:buChar char="Ø"/>
            </a:pPr>
            <a:endParaRPr lang="en-GB" dirty="0"/>
          </a:p>
          <a:p>
            <a:pPr marL="342900" indent="-342900">
              <a:buFont typeface="Wingdings" panose="05000000000000000000" pitchFamily="2" charset="2"/>
              <a:buChar char="Ø"/>
            </a:pPr>
            <a:r>
              <a:rPr lang="en-GB" dirty="0"/>
              <a:t>People</a:t>
            </a:r>
          </a:p>
          <a:p>
            <a:pPr marL="342900" indent="-342900">
              <a:buFont typeface="Wingdings" panose="05000000000000000000" pitchFamily="2" charset="2"/>
              <a:buChar char="Ø"/>
            </a:pPr>
            <a:endParaRPr lang="en-GB" dirty="0"/>
          </a:p>
          <a:p>
            <a:pPr marL="342900" indent="-342900">
              <a:buFont typeface="Wingdings" panose="05000000000000000000" pitchFamily="2" charset="2"/>
              <a:buChar char="Ø"/>
            </a:pPr>
            <a:r>
              <a:rPr lang="en-GB" dirty="0"/>
              <a:t>Leadership</a:t>
            </a:r>
          </a:p>
          <a:p>
            <a:pPr marL="342900" indent="-342900">
              <a:buFont typeface="Wingdings" panose="05000000000000000000" pitchFamily="2" charset="2"/>
              <a:buChar char="Ø"/>
            </a:pPr>
            <a:endParaRPr lang="en-GB" dirty="0"/>
          </a:p>
          <a:p>
            <a:pPr marL="342900" indent="-342900">
              <a:buFont typeface="Wingdings" panose="05000000000000000000" pitchFamily="2" charset="2"/>
              <a:buChar char="Ø"/>
            </a:pPr>
            <a:r>
              <a:rPr lang="en-GB" dirty="0"/>
              <a:t>The Operational Asset</a:t>
            </a:r>
          </a:p>
          <a:p>
            <a:pPr marL="342900" indent="-342900">
              <a:buFont typeface="Wingdings" panose="05000000000000000000" pitchFamily="2" charset="2"/>
              <a:buChar char="Ø"/>
            </a:pPr>
            <a:endParaRPr lang="en-GB" dirty="0"/>
          </a:p>
          <a:p>
            <a:pPr marL="342900" indent="-342900">
              <a:buFont typeface="Wingdings" panose="05000000000000000000" pitchFamily="2" charset="2"/>
              <a:buChar char="Ø"/>
            </a:pPr>
            <a:r>
              <a:rPr lang="en-GB" dirty="0"/>
              <a:t>4 key thoughts</a:t>
            </a:r>
          </a:p>
          <a:p>
            <a:pPr marL="342900" indent="-342900">
              <a:buFont typeface="Wingdings" panose="05000000000000000000" pitchFamily="2" charset="2"/>
              <a:buChar char="Ø"/>
            </a:pPr>
            <a:endParaRPr lang="en-GB" dirty="0"/>
          </a:p>
        </p:txBody>
      </p:sp>
      <p:sp>
        <p:nvSpPr>
          <p:cNvPr id="3" name="Title 2">
            <a:extLst>
              <a:ext uri="{FF2B5EF4-FFF2-40B4-BE49-F238E27FC236}">
                <a16:creationId xmlns:a16="http://schemas.microsoft.com/office/drawing/2014/main" id="{AE3857FF-9320-12A5-CA21-097E1EDC39E1}"/>
              </a:ext>
            </a:extLst>
          </p:cNvPr>
          <p:cNvSpPr>
            <a:spLocks noGrp="1"/>
          </p:cNvSpPr>
          <p:nvPr>
            <p:ph type="title"/>
          </p:nvPr>
        </p:nvSpPr>
        <p:spPr>
          <a:solidFill>
            <a:schemeClr val="accent2">
              <a:lumMod val="60000"/>
              <a:lumOff val="40000"/>
            </a:schemeClr>
          </a:solidFill>
        </p:spPr>
        <p:txBody>
          <a:bodyPr/>
          <a:lstStyle/>
          <a:p>
            <a:r>
              <a:rPr lang="en-GB" dirty="0"/>
              <a:t>Introduction</a:t>
            </a:r>
          </a:p>
        </p:txBody>
      </p:sp>
      <p:sp>
        <p:nvSpPr>
          <p:cNvPr id="5" name="Slide Number Placeholder 4">
            <a:extLst>
              <a:ext uri="{FF2B5EF4-FFF2-40B4-BE49-F238E27FC236}">
                <a16:creationId xmlns:a16="http://schemas.microsoft.com/office/drawing/2014/main" id="{86A22514-1CDF-7F3A-0B4F-3432C9ACC632}"/>
              </a:ext>
            </a:extLst>
          </p:cNvPr>
          <p:cNvSpPr>
            <a:spLocks noGrp="1"/>
          </p:cNvSpPr>
          <p:nvPr>
            <p:ph type="sldNum" sz="quarter" idx="12"/>
          </p:nvPr>
        </p:nvSpPr>
        <p:spPr/>
        <p:txBody>
          <a:bodyPr/>
          <a:lstStyle/>
          <a:p>
            <a:fld id="{55E5625F-1FD2-1C4F-96E4-1B7E00555D74}" type="slidenum">
              <a:rPr lang="nl-BE" smtClean="0"/>
              <a:pPr/>
              <a:t>2</a:t>
            </a:fld>
            <a:endParaRPr lang="nl-BE" dirty="0"/>
          </a:p>
        </p:txBody>
      </p:sp>
      <p:pic>
        <p:nvPicPr>
          <p:cNvPr id="6" name="Picture 5" descr="A logo of a puzzle ball&#10;&#10;Description automatically generated">
            <a:extLst>
              <a:ext uri="{FF2B5EF4-FFF2-40B4-BE49-F238E27FC236}">
                <a16:creationId xmlns:a16="http://schemas.microsoft.com/office/drawing/2014/main" id="{9853CBF4-C2A6-F169-E46C-0E0092756240}"/>
              </a:ext>
            </a:extLst>
          </p:cNvPr>
          <p:cNvPicPr>
            <a:picLocks noChangeAspect="1"/>
          </p:cNvPicPr>
          <p:nvPr/>
        </p:nvPicPr>
        <p:blipFill>
          <a:blip r:embed="rId2"/>
          <a:stretch>
            <a:fillRect/>
          </a:stretch>
        </p:blipFill>
        <p:spPr>
          <a:xfrm>
            <a:off x="10934825" y="0"/>
            <a:ext cx="1257175" cy="1192263"/>
          </a:xfrm>
          <a:prstGeom prst="rect">
            <a:avLst/>
          </a:prstGeom>
        </p:spPr>
      </p:pic>
    </p:spTree>
    <p:extLst>
      <p:ext uri="{BB962C8B-B14F-4D97-AF65-F5344CB8AC3E}">
        <p14:creationId xmlns:p14="http://schemas.microsoft.com/office/powerpoint/2010/main" val="162175586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Placeholder 10" descr="A oil rig in the ocean&#10;&#10;Description automatically generated">
            <a:extLst>
              <a:ext uri="{FF2B5EF4-FFF2-40B4-BE49-F238E27FC236}">
                <a16:creationId xmlns:a16="http://schemas.microsoft.com/office/drawing/2014/main" id="{A882091F-F096-059A-0D9B-94567B573F41}"/>
              </a:ext>
            </a:extLst>
          </p:cNvPr>
          <p:cNvPicPr>
            <a:picLocks noGrp="1" noChangeAspect="1"/>
          </p:cNvPicPr>
          <p:nvPr>
            <p:ph type="pic" sz="quarter" idx="4294967295"/>
          </p:nvPr>
        </p:nvPicPr>
        <p:blipFill>
          <a:blip r:embed="rId2"/>
          <a:srcRect l="12057" r="12057"/>
          <a:stretch>
            <a:fillRect/>
          </a:stretch>
        </p:blipFill>
        <p:spPr>
          <a:xfrm>
            <a:off x="4251424" y="1839485"/>
            <a:ext cx="3689152" cy="3644332"/>
          </a:xfrm>
        </p:spPr>
      </p:pic>
      <p:sp>
        <p:nvSpPr>
          <p:cNvPr id="6" name="Slide Number Placeholder 5">
            <a:extLst>
              <a:ext uri="{FF2B5EF4-FFF2-40B4-BE49-F238E27FC236}">
                <a16:creationId xmlns:a16="http://schemas.microsoft.com/office/drawing/2014/main" id="{1C3069C1-4B8F-0BCF-E9DD-BFAC07D043A8}"/>
              </a:ext>
            </a:extLst>
          </p:cNvPr>
          <p:cNvSpPr>
            <a:spLocks noGrp="1"/>
          </p:cNvSpPr>
          <p:nvPr>
            <p:ph type="sldNum" sz="quarter" idx="4294967295"/>
          </p:nvPr>
        </p:nvSpPr>
        <p:spPr>
          <a:xfrm>
            <a:off x="10742887" y="6582936"/>
            <a:ext cx="547305" cy="257101"/>
          </a:xfrm>
        </p:spPr>
        <p:txBody>
          <a:bodyPr/>
          <a:lstStyle/>
          <a:p>
            <a:pPr>
              <a:spcAft>
                <a:spcPts val="600"/>
              </a:spcAft>
            </a:pPr>
            <a:fld id="{55E5625F-1FD2-1C4F-96E4-1B7E00555D74}" type="slidenum">
              <a:rPr lang="nl-BE" smtClean="0"/>
              <a:pPr>
                <a:spcAft>
                  <a:spcPts val="600"/>
                </a:spcAft>
              </a:pPr>
              <a:t>3</a:t>
            </a:fld>
            <a:endParaRPr lang="nl-BE"/>
          </a:p>
        </p:txBody>
      </p:sp>
      <p:sp>
        <p:nvSpPr>
          <p:cNvPr id="7" name="Title 6">
            <a:extLst>
              <a:ext uri="{FF2B5EF4-FFF2-40B4-BE49-F238E27FC236}">
                <a16:creationId xmlns:a16="http://schemas.microsoft.com/office/drawing/2014/main" id="{0A5DCE4A-0CDB-76B5-019F-DA0001AD527A}"/>
              </a:ext>
            </a:extLst>
          </p:cNvPr>
          <p:cNvSpPr>
            <a:spLocks noGrp="1"/>
          </p:cNvSpPr>
          <p:nvPr>
            <p:ph type="title" idx="4294967295"/>
          </p:nvPr>
        </p:nvSpPr>
        <p:spPr>
          <a:xfrm>
            <a:off x="838200" y="647222"/>
            <a:ext cx="9850012" cy="655200"/>
          </a:xfrm>
        </p:spPr>
        <p:txBody>
          <a:bodyPr>
            <a:normAutofit fontScale="90000"/>
          </a:bodyPr>
          <a:lstStyle/>
          <a:p>
            <a:r>
              <a:rPr lang="en-GB" dirty="0"/>
              <a:t>Major Hazards Arena</a:t>
            </a:r>
          </a:p>
        </p:txBody>
      </p:sp>
      <p:pic>
        <p:nvPicPr>
          <p:cNvPr id="14" name="Picture 13" descr="A logo of a puzzle ball&#10;&#10;Description automatically generated">
            <a:extLst>
              <a:ext uri="{FF2B5EF4-FFF2-40B4-BE49-F238E27FC236}">
                <a16:creationId xmlns:a16="http://schemas.microsoft.com/office/drawing/2014/main" id="{E71E04E3-BEFD-F0A4-DAE7-ABAACC20554C}"/>
              </a:ext>
            </a:extLst>
          </p:cNvPr>
          <p:cNvPicPr>
            <a:picLocks noChangeAspect="1"/>
          </p:cNvPicPr>
          <p:nvPr/>
        </p:nvPicPr>
        <p:blipFill>
          <a:blip r:embed="rId3"/>
          <a:stretch>
            <a:fillRect/>
          </a:stretch>
        </p:blipFill>
        <p:spPr>
          <a:xfrm>
            <a:off x="10442287" y="110159"/>
            <a:ext cx="1634489" cy="1550095"/>
          </a:xfrm>
          <a:prstGeom prst="rect">
            <a:avLst/>
          </a:prstGeom>
        </p:spPr>
      </p:pic>
      <p:pic>
        <p:nvPicPr>
          <p:cNvPr id="3" name="Picture 2" descr="A factory at night with smoke coming out of the factory&#10;&#10;Description automatically generated">
            <a:extLst>
              <a:ext uri="{FF2B5EF4-FFF2-40B4-BE49-F238E27FC236}">
                <a16:creationId xmlns:a16="http://schemas.microsoft.com/office/drawing/2014/main" id="{BF3EE74B-24E7-DC24-F790-7B9F948015A7}"/>
              </a:ext>
            </a:extLst>
          </p:cNvPr>
          <p:cNvPicPr>
            <a:picLocks noChangeAspect="1"/>
          </p:cNvPicPr>
          <p:nvPr/>
        </p:nvPicPr>
        <p:blipFill>
          <a:blip r:embed="rId4"/>
          <a:stretch>
            <a:fillRect/>
          </a:stretch>
        </p:blipFill>
        <p:spPr>
          <a:xfrm>
            <a:off x="115224" y="1839483"/>
            <a:ext cx="3660228" cy="3615759"/>
          </a:xfrm>
          <a:prstGeom prst="rect">
            <a:avLst/>
          </a:prstGeom>
        </p:spPr>
      </p:pic>
      <p:pic>
        <p:nvPicPr>
          <p:cNvPr id="5" name="Picture 4" descr="A factory at night with a tower in the background&#10;&#10;Description automatically generated">
            <a:extLst>
              <a:ext uri="{FF2B5EF4-FFF2-40B4-BE49-F238E27FC236}">
                <a16:creationId xmlns:a16="http://schemas.microsoft.com/office/drawing/2014/main" id="{2DE5A20B-3E55-6713-6A64-031C3015618A}"/>
              </a:ext>
            </a:extLst>
          </p:cNvPr>
          <p:cNvPicPr>
            <a:picLocks noChangeAspect="1"/>
          </p:cNvPicPr>
          <p:nvPr/>
        </p:nvPicPr>
        <p:blipFill>
          <a:blip r:embed="rId5"/>
          <a:stretch>
            <a:fillRect/>
          </a:stretch>
        </p:blipFill>
        <p:spPr>
          <a:xfrm>
            <a:off x="8416548" y="1839484"/>
            <a:ext cx="3660228" cy="3615759"/>
          </a:xfrm>
          <a:prstGeom prst="rect">
            <a:avLst/>
          </a:prstGeom>
        </p:spPr>
      </p:pic>
    </p:spTree>
    <p:extLst>
      <p:ext uri="{BB962C8B-B14F-4D97-AF65-F5344CB8AC3E}">
        <p14:creationId xmlns:p14="http://schemas.microsoft.com/office/powerpoint/2010/main" val="212522663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val 1">
            <a:extLst>
              <a:ext uri="{FF2B5EF4-FFF2-40B4-BE49-F238E27FC236}">
                <a16:creationId xmlns:a16="http://schemas.microsoft.com/office/drawing/2014/main" id="{E34474D9-1B5B-56F9-5B79-1DACABB5D3D8}"/>
              </a:ext>
            </a:extLst>
          </p:cNvPr>
          <p:cNvSpPr/>
          <p:nvPr/>
        </p:nvSpPr>
        <p:spPr>
          <a:xfrm>
            <a:off x="64367" y="1991036"/>
            <a:ext cx="1298355" cy="588579"/>
          </a:xfrm>
          <a:prstGeom prst="ellipse">
            <a:avLst/>
          </a:prstGeom>
          <a:solidFill>
            <a:schemeClr val="bg2"/>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Oval 2">
            <a:extLst>
              <a:ext uri="{FF2B5EF4-FFF2-40B4-BE49-F238E27FC236}">
                <a16:creationId xmlns:a16="http://schemas.microsoft.com/office/drawing/2014/main" id="{EA51297D-542B-81BB-06A1-4EAA96AE130D}"/>
              </a:ext>
            </a:extLst>
          </p:cNvPr>
          <p:cNvSpPr/>
          <p:nvPr/>
        </p:nvSpPr>
        <p:spPr>
          <a:xfrm>
            <a:off x="153100" y="3789037"/>
            <a:ext cx="1298355" cy="588579"/>
          </a:xfrm>
          <a:prstGeom prst="ellipse">
            <a:avLst/>
          </a:prstGeom>
          <a:solidFill>
            <a:schemeClr val="bg2"/>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7" name="Oval 6">
            <a:extLst>
              <a:ext uri="{FF2B5EF4-FFF2-40B4-BE49-F238E27FC236}">
                <a16:creationId xmlns:a16="http://schemas.microsoft.com/office/drawing/2014/main" id="{BD5B89B3-925E-72BE-79D0-307AAF063947}"/>
              </a:ext>
            </a:extLst>
          </p:cNvPr>
          <p:cNvSpPr/>
          <p:nvPr/>
        </p:nvSpPr>
        <p:spPr>
          <a:xfrm>
            <a:off x="2041767" y="1983048"/>
            <a:ext cx="1298355" cy="588579"/>
          </a:xfrm>
          <a:prstGeom prst="ellipse">
            <a:avLst/>
          </a:prstGeom>
          <a:solidFill>
            <a:schemeClr val="bg2"/>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 name="Oval 7">
            <a:extLst>
              <a:ext uri="{FF2B5EF4-FFF2-40B4-BE49-F238E27FC236}">
                <a16:creationId xmlns:a16="http://schemas.microsoft.com/office/drawing/2014/main" id="{1A71E64B-9CFA-B6E5-18BA-A2C3E0D868EA}"/>
              </a:ext>
            </a:extLst>
          </p:cNvPr>
          <p:cNvSpPr/>
          <p:nvPr/>
        </p:nvSpPr>
        <p:spPr>
          <a:xfrm>
            <a:off x="1169126" y="2887509"/>
            <a:ext cx="1298355" cy="588579"/>
          </a:xfrm>
          <a:prstGeom prst="ellipse">
            <a:avLst/>
          </a:prstGeom>
          <a:solidFill>
            <a:schemeClr val="bg2"/>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 name="Slide Number Placeholder 4" hidden="1">
            <a:extLst>
              <a:ext uri="{FF2B5EF4-FFF2-40B4-BE49-F238E27FC236}">
                <a16:creationId xmlns:a16="http://schemas.microsoft.com/office/drawing/2014/main" id="{31C14B12-3B74-4346-9C76-579814AFB0CA}"/>
              </a:ext>
            </a:extLst>
          </p:cNvPr>
          <p:cNvSpPr>
            <a:spLocks noGrp="1"/>
          </p:cNvSpPr>
          <p:nvPr>
            <p:ph type="sldNum" sz="quarter" idx="4294967295"/>
          </p:nvPr>
        </p:nvSpPr>
        <p:spPr>
          <a:xfrm>
            <a:off x="10742887" y="6582936"/>
            <a:ext cx="547305" cy="257101"/>
          </a:xfrm>
        </p:spPr>
        <p:txBody>
          <a:bodyPr/>
          <a:lstStyle/>
          <a:p>
            <a:pPr>
              <a:spcAft>
                <a:spcPts val="600"/>
              </a:spcAft>
            </a:pPr>
            <a:fld id="{55E5625F-1FD2-1C4F-96E4-1B7E00555D74}" type="slidenum">
              <a:rPr lang="nl-BE" smtClean="0"/>
              <a:pPr>
                <a:spcAft>
                  <a:spcPts val="600"/>
                </a:spcAft>
              </a:pPr>
              <a:t>4</a:t>
            </a:fld>
            <a:endParaRPr lang="nl-BE"/>
          </a:p>
        </p:txBody>
      </p:sp>
      <p:sp>
        <p:nvSpPr>
          <p:cNvPr id="4" name="Content Placeholder 3">
            <a:extLst>
              <a:ext uri="{FF2B5EF4-FFF2-40B4-BE49-F238E27FC236}">
                <a16:creationId xmlns:a16="http://schemas.microsoft.com/office/drawing/2014/main" id="{3CCD799C-CA18-DF73-56AE-BF72AD04094C}"/>
              </a:ext>
            </a:extLst>
          </p:cNvPr>
          <p:cNvSpPr>
            <a:spLocks noGrp="1"/>
          </p:cNvSpPr>
          <p:nvPr>
            <p:ph idx="10"/>
          </p:nvPr>
        </p:nvSpPr>
        <p:spPr>
          <a:xfrm>
            <a:off x="190763" y="2060844"/>
            <a:ext cx="1298356" cy="522400"/>
          </a:xfrm>
        </p:spPr>
        <p:txBody>
          <a:bodyPr/>
          <a:lstStyle/>
          <a:p>
            <a:pPr marL="0" indent="0">
              <a:buNone/>
            </a:pPr>
            <a:r>
              <a:rPr lang="en-GB" b="1" dirty="0">
                <a:solidFill>
                  <a:srgbClr val="0070C0"/>
                </a:solidFill>
              </a:rPr>
              <a:t>      SIL</a:t>
            </a:r>
          </a:p>
          <a:p>
            <a:endParaRPr lang="en-GB" dirty="0"/>
          </a:p>
        </p:txBody>
      </p:sp>
      <p:pic>
        <p:nvPicPr>
          <p:cNvPr id="6" name="Picture 5" descr="A logo of a puzzle ball&#10;&#10;Description automatically generated">
            <a:extLst>
              <a:ext uri="{FF2B5EF4-FFF2-40B4-BE49-F238E27FC236}">
                <a16:creationId xmlns:a16="http://schemas.microsoft.com/office/drawing/2014/main" id="{39DED774-7B08-7FC4-663E-57ADF64C6A9A}"/>
              </a:ext>
            </a:extLst>
          </p:cNvPr>
          <p:cNvPicPr>
            <a:picLocks noChangeAspect="1"/>
          </p:cNvPicPr>
          <p:nvPr/>
        </p:nvPicPr>
        <p:blipFill>
          <a:blip r:embed="rId2"/>
          <a:stretch>
            <a:fillRect/>
          </a:stretch>
        </p:blipFill>
        <p:spPr>
          <a:xfrm>
            <a:off x="10442287" y="110159"/>
            <a:ext cx="1634489" cy="1550095"/>
          </a:xfrm>
          <a:prstGeom prst="rect">
            <a:avLst/>
          </a:prstGeom>
        </p:spPr>
      </p:pic>
      <p:sp>
        <p:nvSpPr>
          <p:cNvPr id="9" name="Oval 8">
            <a:extLst>
              <a:ext uri="{FF2B5EF4-FFF2-40B4-BE49-F238E27FC236}">
                <a16:creationId xmlns:a16="http://schemas.microsoft.com/office/drawing/2014/main" id="{C7B0F3DC-5A84-C925-4D48-45DA4F97BB7B}"/>
              </a:ext>
            </a:extLst>
          </p:cNvPr>
          <p:cNvSpPr/>
          <p:nvPr/>
        </p:nvSpPr>
        <p:spPr>
          <a:xfrm>
            <a:off x="2063791" y="3780353"/>
            <a:ext cx="1298355" cy="588579"/>
          </a:xfrm>
          <a:prstGeom prst="ellipse">
            <a:avLst/>
          </a:prstGeom>
          <a:solidFill>
            <a:schemeClr val="bg2"/>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1" name="Content Placeholder 3">
            <a:extLst>
              <a:ext uri="{FF2B5EF4-FFF2-40B4-BE49-F238E27FC236}">
                <a16:creationId xmlns:a16="http://schemas.microsoft.com/office/drawing/2014/main" id="{67F953D0-6639-D924-8EB3-8D2A1E2D8E2B}"/>
              </a:ext>
            </a:extLst>
          </p:cNvPr>
          <p:cNvSpPr txBox="1">
            <a:spLocks/>
          </p:cNvSpPr>
          <p:nvPr/>
        </p:nvSpPr>
        <p:spPr>
          <a:xfrm>
            <a:off x="2257498" y="3897656"/>
            <a:ext cx="1216208" cy="531678"/>
          </a:xfrm>
          <a:prstGeom prst="rect">
            <a:avLst/>
          </a:prstGeom>
        </p:spPr>
        <p:txBody>
          <a:bodyPr vert="horz" lIns="0" tIns="45720" rIns="91440" bIns="45720" rtlCol="0">
            <a:normAutofit/>
          </a:bodyPr>
          <a:lstStyle>
            <a:lvl1pPr marL="241294" indent="-241294" algn="l" defTabSz="914400" rtl="0" eaLnBrk="1" latinLnBrk="0" hangingPunct="1">
              <a:lnSpc>
                <a:spcPct val="100000"/>
              </a:lnSpc>
              <a:spcBef>
                <a:spcPts val="1000"/>
              </a:spcBef>
              <a:spcAft>
                <a:spcPts val="500"/>
              </a:spcAft>
              <a:buFont typeface="Arial" pitchFamily="34" charset="0"/>
              <a:buChar char="•"/>
              <a:defRPr sz="1867" b="0" i="0" kern="1200">
                <a:solidFill>
                  <a:srgbClr val="000000"/>
                </a:solidFill>
                <a:latin typeface="Century Gothic" panose="020B0502020202020204" pitchFamily="34" charset="0"/>
                <a:ea typeface="+mn-ea"/>
                <a:cs typeface="+mn-cs"/>
              </a:defRPr>
            </a:lvl1pPr>
            <a:lvl2pPr marL="719649" indent="-251878" algn="l" defTabSz="914400" rtl="0" eaLnBrk="1" latinLnBrk="0" hangingPunct="1">
              <a:lnSpc>
                <a:spcPct val="100000"/>
              </a:lnSpc>
              <a:spcBef>
                <a:spcPts val="1333"/>
              </a:spcBef>
              <a:spcAft>
                <a:spcPts val="500"/>
              </a:spcAft>
              <a:buFont typeface="Arial" pitchFamily="34" charset="0"/>
              <a:buChar char="−"/>
              <a:defRPr sz="1733" b="0" i="0" kern="1200">
                <a:solidFill>
                  <a:srgbClr val="000000"/>
                </a:solidFill>
                <a:latin typeface="Century Gothic" panose="020B0502020202020204" pitchFamily="34" charset="0"/>
                <a:ea typeface="+mn-ea"/>
                <a:cs typeface="+mn-cs"/>
              </a:defRPr>
            </a:lvl2pPr>
            <a:lvl3pPr marL="1312301" indent="-237061" algn="l" defTabSz="914400" rtl="0" eaLnBrk="1" latinLnBrk="0" hangingPunct="1">
              <a:lnSpc>
                <a:spcPct val="100000"/>
              </a:lnSpc>
              <a:spcBef>
                <a:spcPts val="1067"/>
              </a:spcBef>
              <a:spcAft>
                <a:spcPts val="500"/>
              </a:spcAft>
              <a:buFont typeface="Arial" pitchFamily="34" charset="0"/>
              <a:buChar char="»"/>
              <a:defRPr sz="1600" b="0" i="0" kern="1200">
                <a:solidFill>
                  <a:srgbClr val="000000"/>
                </a:solidFill>
                <a:latin typeface="Century Gothic" panose="020B0502020202020204" pitchFamily="34" charset="0"/>
                <a:ea typeface="+mn-ea"/>
                <a:cs typeface="+mn-cs"/>
              </a:defRPr>
            </a:lvl3pPr>
            <a:lvl4pPr marL="1786422" indent="-283626" algn="l" defTabSz="914400" rtl="0" eaLnBrk="1" latinLnBrk="0" hangingPunct="1">
              <a:lnSpc>
                <a:spcPct val="100000"/>
              </a:lnSpc>
              <a:spcBef>
                <a:spcPts val="800"/>
              </a:spcBef>
              <a:spcAft>
                <a:spcPts val="500"/>
              </a:spcAft>
              <a:buFont typeface="Century Gothic" panose="020B0502020202020204" pitchFamily="34" charset="0"/>
              <a:buChar char="&gt;"/>
              <a:defRPr sz="1467" b="0" i="0" kern="1200">
                <a:solidFill>
                  <a:srgbClr val="000000"/>
                </a:solidFill>
                <a:latin typeface="Century Gothic" panose="020B0502020202020204" pitchFamily="34" charset="0"/>
                <a:ea typeface="+mn-ea"/>
                <a:cs typeface="+mn-cs"/>
              </a:defRPr>
            </a:lvl4pPr>
            <a:lvl5pPr marL="2264777" indent="-112181" algn="l" defTabSz="914400" rtl="0" eaLnBrk="1" latinLnBrk="0" hangingPunct="1">
              <a:lnSpc>
                <a:spcPct val="100000"/>
              </a:lnSpc>
              <a:spcBef>
                <a:spcPts val="800"/>
              </a:spcBef>
              <a:spcAft>
                <a:spcPts val="500"/>
              </a:spcAft>
              <a:buFont typeface="Arial" pitchFamily="34" charset="0"/>
              <a:buChar char="-"/>
              <a:defRPr sz="1333" b="0" i="0" kern="1200">
                <a:solidFill>
                  <a:srgbClr val="000000"/>
                </a:solidFill>
                <a:latin typeface="Century Gothic" panose="020B0502020202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GB" b="1" dirty="0"/>
              <a:t>   </a:t>
            </a:r>
            <a:r>
              <a:rPr lang="en-GB" b="1" dirty="0">
                <a:solidFill>
                  <a:srgbClr val="0070C0"/>
                </a:solidFill>
              </a:rPr>
              <a:t>LOPA</a:t>
            </a:r>
          </a:p>
        </p:txBody>
      </p:sp>
      <p:sp>
        <p:nvSpPr>
          <p:cNvPr id="12" name="Content Placeholder 3">
            <a:extLst>
              <a:ext uri="{FF2B5EF4-FFF2-40B4-BE49-F238E27FC236}">
                <a16:creationId xmlns:a16="http://schemas.microsoft.com/office/drawing/2014/main" id="{C7228AF2-1DD0-B273-C2D5-7B187327E0EE}"/>
              </a:ext>
            </a:extLst>
          </p:cNvPr>
          <p:cNvSpPr txBox="1">
            <a:spLocks/>
          </p:cNvSpPr>
          <p:nvPr/>
        </p:nvSpPr>
        <p:spPr>
          <a:xfrm>
            <a:off x="2138296" y="2079588"/>
            <a:ext cx="1149346" cy="875790"/>
          </a:xfrm>
          <a:prstGeom prst="rect">
            <a:avLst/>
          </a:prstGeom>
        </p:spPr>
        <p:txBody>
          <a:bodyPr vert="horz" lIns="0" tIns="45720" rIns="91440" bIns="45720" rtlCol="0">
            <a:normAutofit/>
          </a:bodyPr>
          <a:lstStyle>
            <a:lvl1pPr marL="241294" indent="-241294" algn="l" defTabSz="914400" rtl="0" eaLnBrk="1" latinLnBrk="0" hangingPunct="1">
              <a:lnSpc>
                <a:spcPct val="100000"/>
              </a:lnSpc>
              <a:spcBef>
                <a:spcPts val="1000"/>
              </a:spcBef>
              <a:spcAft>
                <a:spcPts val="500"/>
              </a:spcAft>
              <a:buFont typeface="Arial" pitchFamily="34" charset="0"/>
              <a:buChar char="•"/>
              <a:defRPr sz="1867" b="0" i="0" kern="1200">
                <a:solidFill>
                  <a:srgbClr val="000000"/>
                </a:solidFill>
                <a:latin typeface="Century Gothic" panose="020B0502020202020204" pitchFamily="34" charset="0"/>
                <a:ea typeface="+mn-ea"/>
                <a:cs typeface="+mn-cs"/>
              </a:defRPr>
            </a:lvl1pPr>
            <a:lvl2pPr marL="719649" indent="-251878" algn="l" defTabSz="914400" rtl="0" eaLnBrk="1" latinLnBrk="0" hangingPunct="1">
              <a:lnSpc>
                <a:spcPct val="100000"/>
              </a:lnSpc>
              <a:spcBef>
                <a:spcPts val="1333"/>
              </a:spcBef>
              <a:spcAft>
                <a:spcPts val="500"/>
              </a:spcAft>
              <a:buFont typeface="Arial" pitchFamily="34" charset="0"/>
              <a:buChar char="−"/>
              <a:defRPr sz="1733" b="0" i="0" kern="1200">
                <a:solidFill>
                  <a:srgbClr val="000000"/>
                </a:solidFill>
                <a:latin typeface="Century Gothic" panose="020B0502020202020204" pitchFamily="34" charset="0"/>
                <a:ea typeface="+mn-ea"/>
                <a:cs typeface="+mn-cs"/>
              </a:defRPr>
            </a:lvl2pPr>
            <a:lvl3pPr marL="1312301" indent="-237061" algn="l" defTabSz="914400" rtl="0" eaLnBrk="1" latinLnBrk="0" hangingPunct="1">
              <a:lnSpc>
                <a:spcPct val="100000"/>
              </a:lnSpc>
              <a:spcBef>
                <a:spcPts val="1067"/>
              </a:spcBef>
              <a:spcAft>
                <a:spcPts val="500"/>
              </a:spcAft>
              <a:buFont typeface="Arial" pitchFamily="34" charset="0"/>
              <a:buChar char="»"/>
              <a:defRPr sz="1600" b="0" i="0" kern="1200">
                <a:solidFill>
                  <a:srgbClr val="000000"/>
                </a:solidFill>
                <a:latin typeface="Century Gothic" panose="020B0502020202020204" pitchFamily="34" charset="0"/>
                <a:ea typeface="+mn-ea"/>
                <a:cs typeface="+mn-cs"/>
              </a:defRPr>
            </a:lvl3pPr>
            <a:lvl4pPr marL="1786422" indent="-283626" algn="l" defTabSz="914400" rtl="0" eaLnBrk="1" latinLnBrk="0" hangingPunct="1">
              <a:lnSpc>
                <a:spcPct val="100000"/>
              </a:lnSpc>
              <a:spcBef>
                <a:spcPts val="800"/>
              </a:spcBef>
              <a:spcAft>
                <a:spcPts val="500"/>
              </a:spcAft>
              <a:buFont typeface="Century Gothic" panose="020B0502020202020204" pitchFamily="34" charset="0"/>
              <a:buChar char="&gt;"/>
              <a:defRPr sz="1467" b="0" i="0" kern="1200">
                <a:solidFill>
                  <a:srgbClr val="000000"/>
                </a:solidFill>
                <a:latin typeface="Century Gothic" panose="020B0502020202020204" pitchFamily="34" charset="0"/>
                <a:ea typeface="+mn-ea"/>
                <a:cs typeface="+mn-cs"/>
              </a:defRPr>
            </a:lvl4pPr>
            <a:lvl5pPr marL="2264777" indent="-112181" algn="l" defTabSz="914400" rtl="0" eaLnBrk="1" latinLnBrk="0" hangingPunct="1">
              <a:lnSpc>
                <a:spcPct val="100000"/>
              </a:lnSpc>
              <a:spcBef>
                <a:spcPts val="800"/>
              </a:spcBef>
              <a:spcAft>
                <a:spcPts val="500"/>
              </a:spcAft>
              <a:buFont typeface="Arial" pitchFamily="34" charset="0"/>
              <a:buChar char="-"/>
              <a:defRPr sz="1333" b="0" i="0" kern="1200">
                <a:solidFill>
                  <a:srgbClr val="000000"/>
                </a:solidFill>
                <a:latin typeface="Century Gothic" panose="020B0502020202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GB" b="1" dirty="0"/>
              <a:t>     </a:t>
            </a:r>
            <a:r>
              <a:rPr lang="en-GB" b="1" dirty="0">
                <a:solidFill>
                  <a:srgbClr val="0070C0"/>
                </a:solidFill>
              </a:rPr>
              <a:t>QRA</a:t>
            </a:r>
          </a:p>
        </p:txBody>
      </p:sp>
      <p:sp>
        <p:nvSpPr>
          <p:cNvPr id="13" name="Content Placeholder 3">
            <a:extLst>
              <a:ext uri="{FF2B5EF4-FFF2-40B4-BE49-F238E27FC236}">
                <a16:creationId xmlns:a16="http://schemas.microsoft.com/office/drawing/2014/main" id="{2171251F-C506-9A13-5442-A5D46AEA3EAA}"/>
              </a:ext>
            </a:extLst>
          </p:cNvPr>
          <p:cNvSpPr txBox="1">
            <a:spLocks/>
          </p:cNvSpPr>
          <p:nvPr/>
        </p:nvSpPr>
        <p:spPr>
          <a:xfrm>
            <a:off x="1362722" y="2993644"/>
            <a:ext cx="1216207" cy="483955"/>
          </a:xfrm>
          <a:prstGeom prst="rect">
            <a:avLst/>
          </a:prstGeom>
        </p:spPr>
        <p:txBody>
          <a:bodyPr vert="horz" lIns="0" tIns="45720" rIns="91440" bIns="45720" rtlCol="0">
            <a:normAutofit/>
          </a:bodyPr>
          <a:lstStyle>
            <a:lvl1pPr marL="241294" indent="-241294" algn="l" defTabSz="914400" rtl="0" eaLnBrk="1" latinLnBrk="0" hangingPunct="1">
              <a:lnSpc>
                <a:spcPct val="100000"/>
              </a:lnSpc>
              <a:spcBef>
                <a:spcPts val="1000"/>
              </a:spcBef>
              <a:spcAft>
                <a:spcPts val="500"/>
              </a:spcAft>
              <a:buFont typeface="Arial" pitchFamily="34" charset="0"/>
              <a:buChar char="•"/>
              <a:defRPr sz="1867" b="0" i="0" kern="1200">
                <a:solidFill>
                  <a:srgbClr val="000000"/>
                </a:solidFill>
                <a:latin typeface="Century Gothic" panose="020B0502020202020204" pitchFamily="34" charset="0"/>
                <a:ea typeface="+mn-ea"/>
                <a:cs typeface="+mn-cs"/>
              </a:defRPr>
            </a:lvl1pPr>
            <a:lvl2pPr marL="719649" indent="-251878" algn="l" defTabSz="914400" rtl="0" eaLnBrk="1" latinLnBrk="0" hangingPunct="1">
              <a:lnSpc>
                <a:spcPct val="100000"/>
              </a:lnSpc>
              <a:spcBef>
                <a:spcPts val="1333"/>
              </a:spcBef>
              <a:spcAft>
                <a:spcPts val="500"/>
              </a:spcAft>
              <a:buFont typeface="Arial" pitchFamily="34" charset="0"/>
              <a:buChar char="−"/>
              <a:defRPr sz="1733" b="0" i="0" kern="1200">
                <a:solidFill>
                  <a:srgbClr val="000000"/>
                </a:solidFill>
                <a:latin typeface="Century Gothic" panose="020B0502020202020204" pitchFamily="34" charset="0"/>
                <a:ea typeface="+mn-ea"/>
                <a:cs typeface="+mn-cs"/>
              </a:defRPr>
            </a:lvl2pPr>
            <a:lvl3pPr marL="1312301" indent="-237061" algn="l" defTabSz="914400" rtl="0" eaLnBrk="1" latinLnBrk="0" hangingPunct="1">
              <a:lnSpc>
                <a:spcPct val="100000"/>
              </a:lnSpc>
              <a:spcBef>
                <a:spcPts val="1067"/>
              </a:spcBef>
              <a:spcAft>
                <a:spcPts val="500"/>
              </a:spcAft>
              <a:buFont typeface="Arial" pitchFamily="34" charset="0"/>
              <a:buChar char="»"/>
              <a:defRPr sz="1600" b="0" i="0" kern="1200">
                <a:solidFill>
                  <a:srgbClr val="000000"/>
                </a:solidFill>
                <a:latin typeface="Century Gothic" panose="020B0502020202020204" pitchFamily="34" charset="0"/>
                <a:ea typeface="+mn-ea"/>
                <a:cs typeface="+mn-cs"/>
              </a:defRPr>
            </a:lvl3pPr>
            <a:lvl4pPr marL="1786422" indent="-283626" algn="l" defTabSz="914400" rtl="0" eaLnBrk="1" latinLnBrk="0" hangingPunct="1">
              <a:lnSpc>
                <a:spcPct val="100000"/>
              </a:lnSpc>
              <a:spcBef>
                <a:spcPts val="800"/>
              </a:spcBef>
              <a:spcAft>
                <a:spcPts val="500"/>
              </a:spcAft>
              <a:buFont typeface="Century Gothic" panose="020B0502020202020204" pitchFamily="34" charset="0"/>
              <a:buChar char="&gt;"/>
              <a:defRPr sz="1467" b="0" i="0" kern="1200">
                <a:solidFill>
                  <a:srgbClr val="000000"/>
                </a:solidFill>
                <a:latin typeface="Century Gothic" panose="020B0502020202020204" pitchFamily="34" charset="0"/>
                <a:ea typeface="+mn-ea"/>
                <a:cs typeface="+mn-cs"/>
              </a:defRPr>
            </a:lvl4pPr>
            <a:lvl5pPr marL="2264777" indent="-112181" algn="l" defTabSz="914400" rtl="0" eaLnBrk="1" latinLnBrk="0" hangingPunct="1">
              <a:lnSpc>
                <a:spcPct val="100000"/>
              </a:lnSpc>
              <a:spcBef>
                <a:spcPts val="800"/>
              </a:spcBef>
              <a:spcAft>
                <a:spcPts val="500"/>
              </a:spcAft>
              <a:buFont typeface="Arial" pitchFamily="34" charset="0"/>
              <a:buChar char="-"/>
              <a:defRPr sz="1333" b="0" i="0" kern="1200">
                <a:solidFill>
                  <a:srgbClr val="000000"/>
                </a:solidFill>
                <a:latin typeface="Century Gothic" panose="020B0502020202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GB" b="1" dirty="0">
                <a:solidFill>
                  <a:srgbClr val="002060"/>
                </a:solidFill>
              </a:rPr>
              <a:t>    </a:t>
            </a:r>
            <a:r>
              <a:rPr lang="en-GB" b="1" dirty="0">
                <a:solidFill>
                  <a:srgbClr val="0070C0"/>
                </a:solidFill>
              </a:rPr>
              <a:t>PHR</a:t>
            </a:r>
          </a:p>
        </p:txBody>
      </p:sp>
      <p:sp>
        <p:nvSpPr>
          <p:cNvPr id="14" name="Content Placeholder 3">
            <a:extLst>
              <a:ext uri="{FF2B5EF4-FFF2-40B4-BE49-F238E27FC236}">
                <a16:creationId xmlns:a16="http://schemas.microsoft.com/office/drawing/2014/main" id="{47B3BFA9-99F5-90B3-033D-05CB17A93009}"/>
              </a:ext>
            </a:extLst>
          </p:cNvPr>
          <p:cNvSpPr txBox="1">
            <a:spLocks/>
          </p:cNvSpPr>
          <p:nvPr/>
        </p:nvSpPr>
        <p:spPr>
          <a:xfrm rot="10800000" flipV="1">
            <a:off x="453271" y="3897656"/>
            <a:ext cx="869568" cy="588579"/>
          </a:xfrm>
          <a:prstGeom prst="rect">
            <a:avLst/>
          </a:prstGeom>
        </p:spPr>
        <p:txBody>
          <a:bodyPr vert="horz" lIns="0" tIns="45720" rIns="91440" bIns="45720" rtlCol="0">
            <a:normAutofit fontScale="92500"/>
          </a:bodyPr>
          <a:lstStyle>
            <a:lvl1pPr marL="241294" indent="-241294" algn="l" defTabSz="914400" rtl="0" eaLnBrk="1" latinLnBrk="0" hangingPunct="1">
              <a:lnSpc>
                <a:spcPct val="100000"/>
              </a:lnSpc>
              <a:spcBef>
                <a:spcPts val="1000"/>
              </a:spcBef>
              <a:spcAft>
                <a:spcPts val="500"/>
              </a:spcAft>
              <a:buFont typeface="Arial" pitchFamily="34" charset="0"/>
              <a:buChar char="•"/>
              <a:defRPr sz="1867" b="0" i="0" kern="1200">
                <a:solidFill>
                  <a:srgbClr val="000000"/>
                </a:solidFill>
                <a:latin typeface="Century Gothic" panose="020B0502020202020204" pitchFamily="34" charset="0"/>
                <a:ea typeface="+mn-ea"/>
                <a:cs typeface="+mn-cs"/>
              </a:defRPr>
            </a:lvl1pPr>
            <a:lvl2pPr marL="719649" indent="-251878" algn="l" defTabSz="914400" rtl="0" eaLnBrk="1" latinLnBrk="0" hangingPunct="1">
              <a:lnSpc>
                <a:spcPct val="100000"/>
              </a:lnSpc>
              <a:spcBef>
                <a:spcPts val="1333"/>
              </a:spcBef>
              <a:spcAft>
                <a:spcPts val="500"/>
              </a:spcAft>
              <a:buFont typeface="Arial" pitchFamily="34" charset="0"/>
              <a:buChar char="−"/>
              <a:defRPr sz="1733" b="0" i="0" kern="1200">
                <a:solidFill>
                  <a:srgbClr val="000000"/>
                </a:solidFill>
                <a:latin typeface="Century Gothic" panose="020B0502020202020204" pitchFamily="34" charset="0"/>
                <a:ea typeface="+mn-ea"/>
                <a:cs typeface="+mn-cs"/>
              </a:defRPr>
            </a:lvl2pPr>
            <a:lvl3pPr marL="1312301" indent="-237061" algn="l" defTabSz="914400" rtl="0" eaLnBrk="1" latinLnBrk="0" hangingPunct="1">
              <a:lnSpc>
                <a:spcPct val="100000"/>
              </a:lnSpc>
              <a:spcBef>
                <a:spcPts val="1067"/>
              </a:spcBef>
              <a:spcAft>
                <a:spcPts val="500"/>
              </a:spcAft>
              <a:buFont typeface="Arial" pitchFamily="34" charset="0"/>
              <a:buChar char="»"/>
              <a:defRPr sz="1600" b="0" i="0" kern="1200">
                <a:solidFill>
                  <a:srgbClr val="000000"/>
                </a:solidFill>
                <a:latin typeface="Century Gothic" panose="020B0502020202020204" pitchFamily="34" charset="0"/>
                <a:ea typeface="+mn-ea"/>
                <a:cs typeface="+mn-cs"/>
              </a:defRPr>
            </a:lvl3pPr>
            <a:lvl4pPr marL="1786422" indent="-283626" algn="l" defTabSz="914400" rtl="0" eaLnBrk="1" latinLnBrk="0" hangingPunct="1">
              <a:lnSpc>
                <a:spcPct val="100000"/>
              </a:lnSpc>
              <a:spcBef>
                <a:spcPts val="800"/>
              </a:spcBef>
              <a:spcAft>
                <a:spcPts val="500"/>
              </a:spcAft>
              <a:buFont typeface="Century Gothic" panose="020B0502020202020204" pitchFamily="34" charset="0"/>
              <a:buChar char="&gt;"/>
              <a:defRPr sz="1467" b="0" i="0" kern="1200">
                <a:solidFill>
                  <a:srgbClr val="000000"/>
                </a:solidFill>
                <a:latin typeface="Century Gothic" panose="020B0502020202020204" pitchFamily="34" charset="0"/>
                <a:ea typeface="+mn-ea"/>
                <a:cs typeface="+mn-cs"/>
              </a:defRPr>
            </a:lvl4pPr>
            <a:lvl5pPr marL="2264777" indent="-112181" algn="l" defTabSz="914400" rtl="0" eaLnBrk="1" latinLnBrk="0" hangingPunct="1">
              <a:lnSpc>
                <a:spcPct val="100000"/>
              </a:lnSpc>
              <a:spcBef>
                <a:spcPts val="800"/>
              </a:spcBef>
              <a:spcAft>
                <a:spcPts val="500"/>
              </a:spcAft>
              <a:buFont typeface="Arial" pitchFamily="34" charset="0"/>
              <a:buChar char="-"/>
              <a:defRPr sz="1333" b="0" i="0" kern="1200">
                <a:solidFill>
                  <a:srgbClr val="000000"/>
                </a:solidFill>
                <a:latin typeface="Century Gothic" panose="020B0502020202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GB" sz="1870" b="1" dirty="0">
                <a:solidFill>
                  <a:srgbClr val="0070C0"/>
                </a:solidFill>
              </a:rPr>
              <a:t>HAZOP</a:t>
            </a:r>
          </a:p>
          <a:p>
            <a:pPr marL="0" indent="0">
              <a:buNone/>
            </a:pPr>
            <a:endParaRPr lang="en-GB" dirty="0"/>
          </a:p>
        </p:txBody>
      </p:sp>
      <p:pic>
        <p:nvPicPr>
          <p:cNvPr id="18" name="Picture Placeholder 17" descr="A person touching a screen with her hands&#10;&#10;Description automatically generated">
            <a:extLst>
              <a:ext uri="{FF2B5EF4-FFF2-40B4-BE49-F238E27FC236}">
                <a16:creationId xmlns:a16="http://schemas.microsoft.com/office/drawing/2014/main" id="{B57E1583-A3F4-71D7-54DD-CF212CB935F0}"/>
              </a:ext>
            </a:extLst>
          </p:cNvPr>
          <p:cNvPicPr>
            <a:picLocks noGrp="1" noChangeAspect="1"/>
          </p:cNvPicPr>
          <p:nvPr>
            <p:ph type="pic" sz="quarter" idx="13"/>
          </p:nvPr>
        </p:nvPicPr>
        <p:blipFill>
          <a:blip r:embed="rId3"/>
          <a:srcRect t="2437" b="2437"/>
          <a:stretch>
            <a:fillRect/>
          </a:stretch>
        </p:blipFill>
        <p:spPr>
          <a:xfrm>
            <a:off x="3680315" y="1462290"/>
            <a:ext cx="8517485" cy="5402412"/>
          </a:xfrm>
        </p:spPr>
      </p:pic>
      <p:sp>
        <p:nvSpPr>
          <p:cNvPr id="10" name="TextBox 9">
            <a:extLst>
              <a:ext uri="{FF2B5EF4-FFF2-40B4-BE49-F238E27FC236}">
                <a16:creationId xmlns:a16="http://schemas.microsoft.com/office/drawing/2014/main" id="{7A98F256-71A1-1DC2-6C97-B1971DF81B6C}"/>
              </a:ext>
            </a:extLst>
          </p:cNvPr>
          <p:cNvSpPr txBox="1"/>
          <p:nvPr/>
        </p:nvSpPr>
        <p:spPr>
          <a:xfrm>
            <a:off x="4435365" y="5665076"/>
            <a:ext cx="7241627" cy="646331"/>
          </a:xfrm>
          <a:prstGeom prst="rect">
            <a:avLst/>
          </a:prstGeom>
          <a:noFill/>
        </p:spPr>
        <p:txBody>
          <a:bodyPr wrap="square" rtlCol="0">
            <a:spAutoFit/>
          </a:bodyPr>
          <a:lstStyle/>
          <a:p>
            <a:r>
              <a:rPr lang="en-GB" b="1" dirty="0">
                <a:solidFill>
                  <a:srgbClr val="7030A0"/>
                </a:solidFill>
              </a:rPr>
              <a:t>An organisations culture can have as big an influence on safety outcomes as the safety management system (Health and Safety Executive)</a:t>
            </a:r>
          </a:p>
        </p:txBody>
      </p:sp>
      <p:sp>
        <p:nvSpPr>
          <p:cNvPr id="15" name="Oval 14">
            <a:extLst>
              <a:ext uri="{FF2B5EF4-FFF2-40B4-BE49-F238E27FC236}">
                <a16:creationId xmlns:a16="http://schemas.microsoft.com/office/drawing/2014/main" id="{1B8CDFDC-6C0E-B9B5-E223-E4C044A11E62}"/>
              </a:ext>
            </a:extLst>
          </p:cNvPr>
          <p:cNvSpPr/>
          <p:nvPr/>
        </p:nvSpPr>
        <p:spPr>
          <a:xfrm>
            <a:off x="499081" y="181677"/>
            <a:ext cx="2768016" cy="1484313"/>
          </a:xfrm>
          <a:prstGeom prst="ellipse">
            <a:avLst/>
          </a:prstGeom>
          <a:solidFill>
            <a:schemeClr val="bg2"/>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6" name="Content Placeholder 3">
            <a:extLst>
              <a:ext uri="{FF2B5EF4-FFF2-40B4-BE49-F238E27FC236}">
                <a16:creationId xmlns:a16="http://schemas.microsoft.com/office/drawing/2014/main" id="{D27279AF-D1AA-371A-56FE-8AE23BF7F047}"/>
              </a:ext>
            </a:extLst>
          </p:cNvPr>
          <p:cNvSpPr txBox="1">
            <a:spLocks/>
          </p:cNvSpPr>
          <p:nvPr/>
        </p:nvSpPr>
        <p:spPr>
          <a:xfrm>
            <a:off x="499081" y="568714"/>
            <a:ext cx="2638447" cy="839879"/>
          </a:xfrm>
          <a:prstGeom prst="rect">
            <a:avLst/>
          </a:prstGeom>
        </p:spPr>
        <p:txBody>
          <a:bodyPr vert="horz" lIns="0" tIns="45720" rIns="91440" bIns="45720" rtlCol="0">
            <a:normAutofit/>
          </a:bodyPr>
          <a:lstStyle>
            <a:lvl1pPr marL="241294" indent="-241294" algn="l" defTabSz="914400" rtl="0" eaLnBrk="1" latinLnBrk="0" hangingPunct="1">
              <a:lnSpc>
                <a:spcPct val="100000"/>
              </a:lnSpc>
              <a:spcBef>
                <a:spcPts val="1000"/>
              </a:spcBef>
              <a:spcAft>
                <a:spcPts val="500"/>
              </a:spcAft>
              <a:buFont typeface="Arial" pitchFamily="34" charset="0"/>
              <a:buChar char="•"/>
              <a:defRPr sz="1867" b="0" i="0" kern="1200">
                <a:solidFill>
                  <a:srgbClr val="000000"/>
                </a:solidFill>
                <a:latin typeface="Century Gothic" panose="020B0502020202020204" pitchFamily="34" charset="0"/>
                <a:ea typeface="+mn-ea"/>
                <a:cs typeface="+mn-cs"/>
              </a:defRPr>
            </a:lvl1pPr>
            <a:lvl2pPr marL="719649" indent="-251878" algn="l" defTabSz="914400" rtl="0" eaLnBrk="1" latinLnBrk="0" hangingPunct="1">
              <a:lnSpc>
                <a:spcPct val="100000"/>
              </a:lnSpc>
              <a:spcBef>
                <a:spcPts val="1333"/>
              </a:spcBef>
              <a:spcAft>
                <a:spcPts val="500"/>
              </a:spcAft>
              <a:buFont typeface="Arial" pitchFamily="34" charset="0"/>
              <a:buChar char="−"/>
              <a:defRPr sz="1733" b="0" i="0" kern="1200">
                <a:solidFill>
                  <a:srgbClr val="000000"/>
                </a:solidFill>
                <a:latin typeface="Century Gothic" panose="020B0502020202020204" pitchFamily="34" charset="0"/>
                <a:ea typeface="+mn-ea"/>
                <a:cs typeface="+mn-cs"/>
              </a:defRPr>
            </a:lvl2pPr>
            <a:lvl3pPr marL="1312301" indent="-237061" algn="l" defTabSz="914400" rtl="0" eaLnBrk="1" latinLnBrk="0" hangingPunct="1">
              <a:lnSpc>
                <a:spcPct val="100000"/>
              </a:lnSpc>
              <a:spcBef>
                <a:spcPts val="1067"/>
              </a:spcBef>
              <a:spcAft>
                <a:spcPts val="500"/>
              </a:spcAft>
              <a:buFont typeface="Arial" pitchFamily="34" charset="0"/>
              <a:buChar char="»"/>
              <a:defRPr sz="1600" b="0" i="0" kern="1200">
                <a:solidFill>
                  <a:srgbClr val="000000"/>
                </a:solidFill>
                <a:latin typeface="Century Gothic" panose="020B0502020202020204" pitchFamily="34" charset="0"/>
                <a:ea typeface="+mn-ea"/>
                <a:cs typeface="+mn-cs"/>
              </a:defRPr>
            </a:lvl3pPr>
            <a:lvl4pPr marL="1786422" indent="-283626" algn="l" defTabSz="914400" rtl="0" eaLnBrk="1" latinLnBrk="0" hangingPunct="1">
              <a:lnSpc>
                <a:spcPct val="100000"/>
              </a:lnSpc>
              <a:spcBef>
                <a:spcPts val="800"/>
              </a:spcBef>
              <a:spcAft>
                <a:spcPts val="500"/>
              </a:spcAft>
              <a:buFont typeface="Century Gothic" panose="020B0502020202020204" pitchFamily="34" charset="0"/>
              <a:buChar char="&gt;"/>
              <a:defRPr sz="1467" b="0" i="0" kern="1200">
                <a:solidFill>
                  <a:srgbClr val="000000"/>
                </a:solidFill>
                <a:latin typeface="Century Gothic" panose="020B0502020202020204" pitchFamily="34" charset="0"/>
                <a:ea typeface="+mn-ea"/>
                <a:cs typeface="+mn-cs"/>
              </a:defRPr>
            </a:lvl4pPr>
            <a:lvl5pPr marL="2264777" indent="-112181" algn="l" defTabSz="914400" rtl="0" eaLnBrk="1" latinLnBrk="0" hangingPunct="1">
              <a:lnSpc>
                <a:spcPct val="100000"/>
              </a:lnSpc>
              <a:spcBef>
                <a:spcPts val="800"/>
              </a:spcBef>
              <a:spcAft>
                <a:spcPts val="500"/>
              </a:spcAft>
              <a:buFont typeface="Arial" pitchFamily="34" charset="0"/>
              <a:buChar char="-"/>
              <a:defRPr sz="1333" b="0" i="0" kern="1200">
                <a:solidFill>
                  <a:srgbClr val="000000"/>
                </a:solidFill>
                <a:latin typeface="Century Gothic" panose="020B0502020202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GB" b="1" dirty="0"/>
              <a:t>      </a:t>
            </a:r>
            <a:r>
              <a:rPr lang="en-GB" b="1" dirty="0">
                <a:solidFill>
                  <a:srgbClr val="0070C0"/>
                </a:solidFill>
              </a:rPr>
              <a:t>HSE Management  	Systems</a:t>
            </a:r>
          </a:p>
        </p:txBody>
      </p:sp>
    </p:spTree>
    <p:extLst>
      <p:ext uri="{BB962C8B-B14F-4D97-AF65-F5344CB8AC3E}">
        <p14:creationId xmlns:p14="http://schemas.microsoft.com/office/powerpoint/2010/main" val="388998760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91B0E37-5E61-143B-9CB4-CDE84092D876}"/>
              </a:ext>
            </a:extLst>
          </p:cNvPr>
          <p:cNvSpPr>
            <a:spLocks noGrp="1"/>
          </p:cNvSpPr>
          <p:nvPr>
            <p:ph type="title"/>
          </p:nvPr>
        </p:nvSpPr>
        <p:spPr/>
        <p:txBody>
          <a:bodyPr>
            <a:normAutofit fontScale="90000"/>
          </a:bodyPr>
          <a:lstStyle/>
          <a:p>
            <a:r>
              <a:rPr lang="en-GB" dirty="0"/>
              <a:t>Four Key Questions</a:t>
            </a:r>
          </a:p>
        </p:txBody>
      </p:sp>
      <p:sp>
        <p:nvSpPr>
          <p:cNvPr id="4" name="Slide Number Placeholder 3">
            <a:extLst>
              <a:ext uri="{FF2B5EF4-FFF2-40B4-BE49-F238E27FC236}">
                <a16:creationId xmlns:a16="http://schemas.microsoft.com/office/drawing/2014/main" id="{9880C51D-B5FA-4421-985C-F2BFDD5099D2}"/>
              </a:ext>
            </a:extLst>
          </p:cNvPr>
          <p:cNvSpPr>
            <a:spLocks noGrp="1"/>
          </p:cNvSpPr>
          <p:nvPr>
            <p:ph type="sldNum" sz="quarter" idx="12"/>
          </p:nvPr>
        </p:nvSpPr>
        <p:spPr/>
        <p:txBody>
          <a:bodyPr/>
          <a:lstStyle/>
          <a:p>
            <a:fld id="{55E5625F-1FD2-1C4F-96E4-1B7E00555D74}" type="slidenum">
              <a:rPr lang="nl-BE" smtClean="0"/>
              <a:pPr/>
              <a:t>5</a:t>
            </a:fld>
            <a:endParaRPr lang="nl-BE" dirty="0"/>
          </a:p>
        </p:txBody>
      </p:sp>
      <p:sp>
        <p:nvSpPr>
          <p:cNvPr id="5" name="Text Placeholder 4">
            <a:extLst>
              <a:ext uri="{FF2B5EF4-FFF2-40B4-BE49-F238E27FC236}">
                <a16:creationId xmlns:a16="http://schemas.microsoft.com/office/drawing/2014/main" id="{49B1CD0B-AF76-02C6-70A2-F26EDC457687}"/>
              </a:ext>
            </a:extLst>
          </p:cNvPr>
          <p:cNvSpPr>
            <a:spLocks noGrp="1"/>
          </p:cNvSpPr>
          <p:nvPr>
            <p:ph type="body" sz="quarter" idx="13"/>
          </p:nvPr>
        </p:nvSpPr>
        <p:spPr>
          <a:xfrm>
            <a:off x="838200" y="1584000"/>
            <a:ext cx="9850438" cy="4797750"/>
          </a:xfrm>
        </p:spPr>
        <p:txBody>
          <a:bodyPr/>
          <a:lstStyle/>
          <a:p>
            <a:pPr marL="457200" indent="-457200">
              <a:buFont typeface="+mj-lt"/>
              <a:buAutoNum type="arabicParenR"/>
            </a:pPr>
            <a:r>
              <a:rPr lang="en-GB" sz="2000" dirty="0"/>
              <a:t>Are we spending too much of our time focussed on the tangible and relatively well understood hard systems and not enough truly understanding the softer world of safety culture and how that presents and is executed in an operational environment?</a:t>
            </a:r>
          </a:p>
          <a:p>
            <a:pPr marL="457200" indent="-457200">
              <a:buFont typeface="+mj-lt"/>
              <a:buAutoNum type="arabicParenR"/>
            </a:pPr>
            <a:endParaRPr lang="en-GB" sz="2000" dirty="0"/>
          </a:p>
          <a:p>
            <a:pPr marL="457200" indent="-457200">
              <a:buFont typeface="+mj-lt"/>
              <a:buAutoNum type="arabicParenR"/>
            </a:pPr>
            <a:r>
              <a:rPr lang="en-GB" sz="2000" dirty="0"/>
              <a:t>Should we be having the same conversation around </a:t>
            </a:r>
            <a:r>
              <a:rPr lang="en-GB" sz="2000" i="1" dirty="0">
                <a:solidFill>
                  <a:schemeClr val="accent2">
                    <a:lumMod val="60000"/>
                    <a:lumOff val="40000"/>
                  </a:schemeClr>
                </a:solidFill>
              </a:rPr>
              <a:t>safety culture and processes and systems</a:t>
            </a:r>
            <a:r>
              <a:rPr lang="en-GB" sz="2000" dirty="0"/>
              <a:t> that we have been having regarding process safety and occupational safety?</a:t>
            </a:r>
          </a:p>
          <a:p>
            <a:pPr marL="457200" indent="-457200">
              <a:buFont typeface="+mj-lt"/>
              <a:buAutoNum type="arabicParenR"/>
            </a:pPr>
            <a:endParaRPr lang="en-GB" sz="2000" dirty="0"/>
          </a:p>
          <a:p>
            <a:pPr marL="457200" indent="-457200">
              <a:buFont typeface="+mj-lt"/>
              <a:buAutoNum type="arabicParenR"/>
            </a:pPr>
            <a:r>
              <a:rPr lang="en-GB" sz="2000" dirty="0"/>
              <a:t>Is improving safety culture to broad and difficult a subject or are engineers and consultants happy to perform within their comfort zone?</a:t>
            </a:r>
          </a:p>
          <a:p>
            <a:pPr marL="457200" indent="-457200">
              <a:buFont typeface="+mj-lt"/>
              <a:buAutoNum type="arabicParenR"/>
            </a:pPr>
            <a:endParaRPr lang="en-GB" sz="2000" dirty="0"/>
          </a:p>
          <a:p>
            <a:pPr marL="457200" indent="-457200">
              <a:buFont typeface="+mj-lt"/>
              <a:buAutoNum type="arabicParenR"/>
            </a:pPr>
            <a:r>
              <a:rPr lang="en-GB" sz="2000" dirty="0"/>
              <a:t>Does improving safety culture need to be an academic exercise or can we simplify and, what does improvement look like?</a:t>
            </a:r>
          </a:p>
        </p:txBody>
      </p:sp>
      <p:pic>
        <p:nvPicPr>
          <p:cNvPr id="6" name="Picture 5" descr="A logo of a puzzle ball&#10;&#10;Description automatically generated">
            <a:extLst>
              <a:ext uri="{FF2B5EF4-FFF2-40B4-BE49-F238E27FC236}">
                <a16:creationId xmlns:a16="http://schemas.microsoft.com/office/drawing/2014/main" id="{8AA6E805-C9D8-8760-0696-A1A3CCF04085}"/>
              </a:ext>
            </a:extLst>
          </p:cNvPr>
          <p:cNvPicPr>
            <a:picLocks noChangeAspect="1"/>
          </p:cNvPicPr>
          <p:nvPr/>
        </p:nvPicPr>
        <p:blipFill>
          <a:blip r:embed="rId2"/>
          <a:stretch>
            <a:fillRect/>
          </a:stretch>
        </p:blipFill>
        <p:spPr>
          <a:xfrm>
            <a:off x="10442287" y="110159"/>
            <a:ext cx="1634489" cy="1550095"/>
          </a:xfrm>
          <a:prstGeom prst="rect">
            <a:avLst/>
          </a:prstGeom>
        </p:spPr>
      </p:pic>
    </p:spTree>
    <p:extLst>
      <p:ext uri="{BB962C8B-B14F-4D97-AF65-F5344CB8AC3E}">
        <p14:creationId xmlns:p14="http://schemas.microsoft.com/office/powerpoint/2010/main" val="347940248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31D4E439-7AFE-41C2-9561-67F5879CAB86}"/>
              </a:ext>
            </a:extLst>
          </p:cNvPr>
          <p:cNvSpPr>
            <a:spLocks noGrp="1"/>
          </p:cNvSpPr>
          <p:nvPr>
            <p:ph type="title"/>
          </p:nvPr>
        </p:nvSpPr>
        <p:spPr>
          <a:xfrm>
            <a:off x="4654295" y="4522156"/>
            <a:ext cx="5609222" cy="1363215"/>
          </a:xfrm>
        </p:spPr>
        <p:txBody>
          <a:bodyPr vert="horz" lIns="91440" tIns="45720" rIns="91440" bIns="45720" rtlCol="0" anchor="t">
            <a:normAutofit/>
          </a:bodyPr>
          <a:lstStyle/>
          <a:p>
            <a:r>
              <a:rPr lang="en-US" kern="1200" dirty="0">
                <a:solidFill>
                  <a:schemeClr val="tx1"/>
                </a:solidFill>
                <a:latin typeface="+mj-lt"/>
                <a:ea typeface="+mj-ea"/>
                <a:cs typeface="+mj-cs"/>
              </a:rPr>
              <a:t>People</a:t>
            </a:r>
          </a:p>
        </p:txBody>
      </p:sp>
      <p:pic>
        <p:nvPicPr>
          <p:cNvPr id="7" name="Picture 6">
            <a:extLst>
              <a:ext uri="{FF2B5EF4-FFF2-40B4-BE49-F238E27FC236}">
                <a16:creationId xmlns:a16="http://schemas.microsoft.com/office/drawing/2014/main" id="{469BAD75-0300-4548-9724-1689093F32BD}"/>
              </a:ext>
            </a:extLst>
          </p:cNvPr>
          <p:cNvPicPr>
            <a:picLocks noChangeAspect="1"/>
          </p:cNvPicPr>
          <p:nvPr/>
        </p:nvPicPr>
        <p:blipFill rotWithShape="1">
          <a:blip r:embed="rId2"/>
          <a:srcRect l="26981" r="28223" b="-2"/>
          <a:stretch/>
        </p:blipFill>
        <p:spPr>
          <a:xfrm>
            <a:off x="20" y="329073"/>
            <a:ext cx="3933420" cy="5861304"/>
          </a:xfrm>
          <a:custGeom>
            <a:avLst/>
            <a:gdLst/>
            <a:ahLst/>
            <a:cxnLst/>
            <a:rect l="l" t="t" r="r" b="b"/>
            <a:pathLst>
              <a:path w="3933440" h="5861304">
                <a:moveTo>
                  <a:pt x="1002788" y="0"/>
                </a:moveTo>
                <a:cubicBezTo>
                  <a:pt x="2621342" y="0"/>
                  <a:pt x="3933440" y="1312098"/>
                  <a:pt x="3933440" y="2930652"/>
                </a:cubicBezTo>
                <a:cubicBezTo>
                  <a:pt x="3933440" y="4549206"/>
                  <a:pt x="2621342" y="5861304"/>
                  <a:pt x="1002788" y="5861304"/>
                </a:cubicBezTo>
                <a:cubicBezTo>
                  <a:pt x="699309" y="5861304"/>
                  <a:pt x="406604" y="5815176"/>
                  <a:pt x="131302" y="5729548"/>
                </a:cubicBezTo>
                <a:lnTo>
                  <a:pt x="0" y="5681491"/>
                </a:lnTo>
                <a:lnTo>
                  <a:pt x="0" y="179814"/>
                </a:lnTo>
                <a:lnTo>
                  <a:pt x="131302" y="131756"/>
                </a:lnTo>
                <a:cubicBezTo>
                  <a:pt x="406604" y="46129"/>
                  <a:pt x="699309" y="0"/>
                  <a:pt x="1002788" y="0"/>
                </a:cubicBezTo>
                <a:close/>
              </a:path>
            </a:pathLst>
          </a:custGeom>
        </p:spPr>
      </p:pic>
      <p:pic>
        <p:nvPicPr>
          <p:cNvPr id="9" name="Picture 8">
            <a:extLst>
              <a:ext uri="{FF2B5EF4-FFF2-40B4-BE49-F238E27FC236}">
                <a16:creationId xmlns:a16="http://schemas.microsoft.com/office/drawing/2014/main" id="{CCBC4C06-100B-4878-B78B-923F1F8B6607}"/>
              </a:ext>
            </a:extLst>
          </p:cNvPr>
          <p:cNvPicPr>
            <a:picLocks noChangeAspect="1"/>
          </p:cNvPicPr>
          <p:nvPr/>
        </p:nvPicPr>
        <p:blipFill rotWithShape="1">
          <a:blip r:embed="rId3"/>
          <a:srcRect l="18944" r="2" b="2"/>
          <a:stretch/>
        </p:blipFill>
        <p:spPr>
          <a:xfrm>
            <a:off x="4518135" y="10"/>
            <a:ext cx="3236976" cy="2995146"/>
          </a:xfrm>
          <a:custGeom>
            <a:avLst/>
            <a:gdLst/>
            <a:ahLst/>
            <a:cxnLst/>
            <a:rect l="l" t="t" r="r" b="b"/>
            <a:pathLst>
              <a:path w="3236976" h="2995156">
                <a:moveTo>
                  <a:pt x="770517" y="0"/>
                </a:moveTo>
                <a:lnTo>
                  <a:pt x="2466460" y="0"/>
                </a:lnTo>
                <a:lnTo>
                  <a:pt x="2523400" y="34592"/>
                </a:lnTo>
                <a:cubicBezTo>
                  <a:pt x="2953921" y="325446"/>
                  <a:pt x="3236976" y="818002"/>
                  <a:pt x="3236976" y="1376668"/>
                </a:cubicBezTo>
                <a:cubicBezTo>
                  <a:pt x="3236976" y="2270534"/>
                  <a:pt x="2512354" y="2995156"/>
                  <a:pt x="1618488" y="2995156"/>
                </a:cubicBezTo>
                <a:cubicBezTo>
                  <a:pt x="724622" y="2995156"/>
                  <a:pt x="0" y="2270534"/>
                  <a:pt x="0" y="1376668"/>
                </a:cubicBezTo>
                <a:cubicBezTo>
                  <a:pt x="0" y="818002"/>
                  <a:pt x="283056" y="325446"/>
                  <a:pt x="713576" y="34592"/>
                </a:cubicBezTo>
                <a:close/>
              </a:path>
            </a:pathLst>
          </a:custGeom>
        </p:spPr>
      </p:pic>
      <p:pic>
        <p:nvPicPr>
          <p:cNvPr id="12" name="Picture 11">
            <a:extLst>
              <a:ext uri="{FF2B5EF4-FFF2-40B4-BE49-F238E27FC236}">
                <a16:creationId xmlns:a16="http://schemas.microsoft.com/office/drawing/2014/main" id="{E58B1403-B880-4CB9-8B64-93F79B9583DA}"/>
              </a:ext>
            </a:extLst>
          </p:cNvPr>
          <p:cNvPicPr>
            <a:picLocks noChangeAspect="1"/>
          </p:cNvPicPr>
          <p:nvPr/>
        </p:nvPicPr>
        <p:blipFill rotWithShape="1">
          <a:blip r:embed="rId4"/>
          <a:srcRect l="32477" r="13993" b="2"/>
          <a:stretch/>
        </p:blipFill>
        <p:spPr>
          <a:xfrm>
            <a:off x="8967592" y="2042"/>
            <a:ext cx="3224421" cy="4020664"/>
          </a:xfrm>
          <a:custGeom>
            <a:avLst/>
            <a:gdLst/>
            <a:ahLst/>
            <a:cxnLst/>
            <a:rect l="l" t="t" r="r" b="b"/>
            <a:pathLst>
              <a:path w="3224421" h="4020664">
                <a:moveTo>
                  <a:pt x="449733" y="0"/>
                </a:moveTo>
                <a:lnTo>
                  <a:pt x="3224421" y="0"/>
                </a:lnTo>
                <a:lnTo>
                  <a:pt x="3224421" y="3933205"/>
                </a:lnTo>
                <a:lnTo>
                  <a:pt x="3087301" y="3968462"/>
                </a:lnTo>
                <a:cubicBezTo>
                  <a:pt x="2920035" y="4002689"/>
                  <a:pt x="2746849" y="4020664"/>
                  <a:pt x="2569464" y="4020664"/>
                </a:cubicBezTo>
                <a:cubicBezTo>
                  <a:pt x="1150388" y="4020664"/>
                  <a:pt x="0" y="2870276"/>
                  <a:pt x="0" y="1451200"/>
                </a:cubicBezTo>
                <a:cubicBezTo>
                  <a:pt x="0" y="919047"/>
                  <a:pt x="161773" y="424677"/>
                  <a:pt x="438824" y="14588"/>
                </a:cubicBezTo>
                <a:close/>
              </a:path>
            </a:pathLst>
          </a:custGeom>
        </p:spPr>
      </p:pic>
      <p:pic>
        <p:nvPicPr>
          <p:cNvPr id="2" name="Picture 1" descr="A logo of a puzzle ball&#10;&#10;Description automatically generated">
            <a:extLst>
              <a:ext uri="{FF2B5EF4-FFF2-40B4-BE49-F238E27FC236}">
                <a16:creationId xmlns:a16="http://schemas.microsoft.com/office/drawing/2014/main" id="{077BF025-B68A-78C3-8BF7-5CF6AEB327D7}"/>
              </a:ext>
            </a:extLst>
          </p:cNvPr>
          <p:cNvPicPr>
            <a:picLocks noChangeAspect="1"/>
          </p:cNvPicPr>
          <p:nvPr/>
        </p:nvPicPr>
        <p:blipFill>
          <a:blip r:embed="rId5"/>
          <a:stretch>
            <a:fillRect/>
          </a:stretch>
        </p:blipFill>
        <p:spPr>
          <a:xfrm>
            <a:off x="10579802" y="5203763"/>
            <a:ext cx="1634489" cy="1550095"/>
          </a:xfrm>
          <a:prstGeom prst="rect">
            <a:avLst/>
          </a:prstGeom>
        </p:spPr>
      </p:pic>
    </p:spTree>
    <p:extLst>
      <p:ext uri="{BB962C8B-B14F-4D97-AF65-F5344CB8AC3E}">
        <p14:creationId xmlns:p14="http://schemas.microsoft.com/office/powerpoint/2010/main" val="315908538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C206123-53AC-4D61-B520-42949742E2A2}"/>
              </a:ext>
            </a:extLst>
          </p:cNvPr>
          <p:cNvSpPr>
            <a:spLocks noGrp="1"/>
          </p:cNvSpPr>
          <p:nvPr>
            <p:ph type="title"/>
          </p:nvPr>
        </p:nvSpPr>
        <p:spPr>
          <a:xfrm>
            <a:off x="932468" y="3429000"/>
            <a:ext cx="10515600" cy="892175"/>
          </a:xfrm>
        </p:spPr>
        <p:txBody>
          <a:bodyPr anchor="t">
            <a:normAutofit/>
          </a:bodyPr>
          <a:lstStyle/>
          <a:p>
            <a:r>
              <a:rPr lang="en-US" sz="2700" b="0" dirty="0"/>
              <a:t>The </a:t>
            </a:r>
            <a:r>
              <a:rPr lang="en-US" sz="2700" dirty="0"/>
              <a:t>behaviours</a:t>
            </a:r>
            <a:r>
              <a:rPr lang="en-US" sz="2700" b="0" dirty="0"/>
              <a:t> of people ultimately determine whether a company is successful in safety or not</a:t>
            </a:r>
            <a:endParaRPr lang="en-GB" sz="2700" b="0" dirty="0"/>
          </a:p>
        </p:txBody>
      </p:sp>
      <p:pic>
        <p:nvPicPr>
          <p:cNvPr id="3" name="Picture 2" descr="A logo of a puzzle ball&#10;&#10;Description automatically generated">
            <a:extLst>
              <a:ext uri="{FF2B5EF4-FFF2-40B4-BE49-F238E27FC236}">
                <a16:creationId xmlns:a16="http://schemas.microsoft.com/office/drawing/2014/main" id="{4C7846B1-57C8-C0C6-B2E3-BF6473231A57}"/>
              </a:ext>
            </a:extLst>
          </p:cNvPr>
          <p:cNvPicPr>
            <a:picLocks noChangeAspect="1"/>
          </p:cNvPicPr>
          <p:nvPr/>
        </p:nvPicPr>
        <p:blipFill>
          <a:blip r:embed="rId2"/>
          <a:stretch>
            <a:fillRect/>
          </a:stretch>
        </p:blipFill>
        <p:spPr>
          <a:xfrm>
            <a:off x="10442287" y="110159"/>
            <a:ext cx="1634489" cy="1550095"/>
          </a:xfrm>
          <a:prstGeom prst="rect">
            <a:avLst/>
          </a:prstGeom>
        </p:spPr>
      </p:pic>
    </p:spTree>
    <p:extLst>
      <p:ext uri="{BB962C8B-B14F-4D97-AF65-F5344CB8AC3E}">
        <p14:creationId xmlns:p14="http://schemas.microsoft.com/office/powerpoint/2010/main" val="399318779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331AE594-5E14-073C-78B5-F3D92FEDA8AA}"/>
              </a:ext>
            </a:extLst>
          </p:cNvPr>
          <p:cNvSpPr>
            <a:spLocks noGrp="1"/>
          </p:cNvSpPr>
          <p:nvPr>
            <p:ph type="sldNum" sz="quarter" idx="12"/>
          </p:nvPr>
        </p:nvSpPr>
        <p:spPr/>
        <p:txBody>
          <a:bodyPr/>
          <a:lstStyle/>
          <a:p>
            <a:fld id="{55E5625F-1FD2-1C4F-96E4-1B7E00555D74}" type="slidenum">
              <a:rPr lang="nl-BE" smtClean="0"/>
              <a:pPr/>
              <a:t>8</a:t>
            </a:fld>
            <a:endParaRPr lang="nl-BE" dirty="0"/>
          </a:p>
        </p:txBody>
      </p:sp>
      <p:sp>
        <p:nvSpPr>
          <p:cNvPr id="6" name="Text Placeholder 5">
            <a:extLst>
              <a:ext uri="{FF2B5EF4-FFF2-40B4-BE49-F238E27FC236}">
                <a16:creationId xmlns:a16="http://schemas.microsoft.com/office/drawing/2014/main" id="{D71AEBD7-38F9-B3AF-2172-38C7583E7F83}"/>
              </a:ext>
            </a:extLst>
          </p:cNvPr>
          <p:cNvSpPr>
            <a:spLocks noGrp="1"/>
          </p:cNvSpPr>
          <p:nvPr>
            <p:ph type="body" sz="quarter" idx="13"/>
          </p:nvPr>
        </p:nvSpPr>
        <p:spPr>
          <a:xfrm>
            <a:off x="838200" y="1584000"/>
            <a:ext cx="4751388" cy="3358999"/>
          </a:xfrm>
        </p:spPr>
        <p:txBody>
          <a:bodyPr/>
          <a:lstStyle/>
          <a:p>
            <a:pPr marL="342900" indent="-342900">
              <a:buFont typeface="Wingdings" panose="05000000000000000000" pitchFamily="2" charset="2"/>
              <a:buChar char="Ø"/>
            </a:pPr>
            <a:r>
              <a:rPr lang="en-GB" dirty="0"/>
              <a:t>Board / Senior Management</a:t>
            </a:r>
          </a:p>
          <a:p>
            <a:pPr marL="342900" indent="-342900">
              <a:buFont typeface="Wingdings" panose="05000000000000000000" pitchFamily="2" charset="2"/>
              <a:buChar char="Ø"/>
            </a:pPr>
            <a:r>
              <a:rPr lang="en-GB" dirty="0"/>
              <a:t>Managers / Supervisors</a:t>
            </a:r>
          </a:p>
          <a:p>
            <a:pPr marL="342900" indent="-342900">
              <a:buFont typeface="Wingdings" panose="05000000000000000000" pitchFamily="2" charset="2"/>
              <a:buChar char="Ø"/>
            </a:pPr>
            <a:r>
              <a:rPr lang="en-GB" dirty="0"/>
              <a:t>Company Staff</a:t>
            </a:r>
          </a:p>
          <a:p>
            <a:pPr marL="342900" indent="-342900">
              <a:buFont typeface="Wingdings" panose="05000000000000000000" pitchFamily="2" charset="2"/>
              <a:buChar char="Ø"/>
            </a:pPr>
            <a:endParaRPr lang="en-GB" dirty="0"/>
          </a:p>
          <a:p>
            <a:pPr marL="342900" indent="-342900">
              <a:buFont typeface="Wingdings" panose="05000000000000000000" pitchFamily="2" charset="2"/>
              <a:buChar char="Ø"/>
            </a:pPr>
            <a:r>
              <a:rPr lang="en-GB" dirty="0"/>
              <a:t>Promotions</a:t>
            </a:r>
          </a:p>
          <a:p>
            <a:endParaRPr lang="en-GB" dirty="0"/>
          </a:p>
        </p:txBody>
      </p:sp>
      <p:sp>
        <p:nvSpPr>
          <p:cNvPr id="11" name="Title 2">
            <a:extLst>
              <a:ext uri="{FF2B5EF4-FFF2-40B4-BE49-F238E27FC236}">
                <a16:creationId xmlns:a16="http://schemas.microsoft.com/office/drawing/2014/main" id="{C2D0AABC-7FF3-A148-DAE1-D003DA889924}"/>
              </a:ext>
            </a:extLst>
          </p:cNvPr>
          <p:cNvSpPr>
            <a:spLocks noGrp="1"/>
          </p:cNvSpPr>
          <p:nvPr>
            <p:ph type="title"/>
          </p:nvPr>
        </p:nvSpPr>
        <p:spPr>
          <a:xfrm>
            <a:off x="838200" y="647222"/>
            <a:ext cx="9850012" cy="655200"/>
          </a:xfrm>
          <a:solidFill>
            <a:schemeClr val="accent2">
              <a:lumMod val="60000"/>
              <a:lumOff val="40000"/>
            </a:schemeClr>
          </a:solidFill>
        </p:spPr>
        <p:txBody>
          <a:bodyPr/>
          <a:lstStyle/>
          <a:p>
            <a:pPr algn="ctr"/>
            <a:r>
              <a:rPr lang="en-GB" sz="2800" dirty="0"/>
              <a:t>Leadership</a:t>
            </a:r>
          </a:p>
        </p:txBody>
      </p:sp>
      <p:sp>
        <p:nvSpPr>
          <p:cNvPr id="12" name="TextBox 11">
            <a:extLst>
              <a:ext uri="{FF2B5EF4-FFF2-40B4-BE49-F238E27FC236}">
                <a16:creationId xmlns:a16="http://schemas.microsoft.com/office/drawing/2014/main" id="{A8376FCE-268E-B6F2-6539-DFD4F005180F}"/>
              </a:ext>
            </a:extLst>
          </p:cNvPr>
          <p:cNvSpPr txBox="1"/>
          <p:nvPr/>
        </p:nvSpPr>
        <p:spPr>
          <a:xfrm>
            <a:off x="901809" y="5753100"/>
            <a:ext cx="10388384" cy="707886"/>
          </a:xfrm>
          <a:prstGeom prst="rect">
            <a:avLst/>
          </a:prstGeom>
          <a:noFill/>
        </p:spPr>
        <p:txBody>
          <a:bodyPr wrap="square" rtlCol="0">
            <a:spAutoFit/>
          </a:bodyPr>
          <a:lstStyle/>
          <a:p>
            <a:r>
              <a:rPr lang="en-GB" sz="2000" dirty="0">
                <a:solidFill>
                  <a:srgbClr val="FF0000"/>
                </a:solidFill>
              </a:rPr>
              <a:t>A</a:t>
            </a:r>
            <a:r>
              <a:rPr lang="en-GB" sz="2000" b="1" dirty="0">
                <a:solidFill>
                  <a:srgbClr val="FF0000"/>
                </a:solidFill>
              </a:rPr>
              <a:t> leader’s minimum</a:t>
            </a:r>
            <a:r>
              <a:rPr lang="en-GB" sz="2000" dirty="0">
                <a:solidFill>
                  <a:srgbClr val="FF0000"/>
                </a:solidFill>
              </a:rPr>
              <a:t> standard is the </a:t>
            </a:r>
            <a:r>
              <a:rPr lang="en-GB" sz="2000" b="1" dirty="0">
                <a:solidFill>
                  <a:srgbClr val="FF0000"/>
                </a:solidFill>
              </a:rPr>
              <a:t>maximum</a:t>
            </a:r>
            <a:r>
              <a:rPr lang="en-GB" sz="2000" dirty="0">
                <a:solidFill>
                  <a:srgbClr val="FF0000"/>
                </a:solidFill>
              </a:rPr>
              <a:t> standard you can expect of your subordinates</a:t>
            </a:r>
          </a:p>
          <a:p>
            <a:r>
              <a:rPr lang="en-GB" sz="2000" dirty="0">
                <a:solidFill>
                  <a:srgbClr val="FF0000"/>
                </a:solidFill>
              </a:rPr>
              <a:t>(DuPont)</a:t>
            </a:r>
          </a:p>
        </p:txBody>
      </p:sp>
      <p:pic>
        <p:nvPicPr>
          <p:cNvPr id="2" name="Picture 1" descr="A logo of a puzzle ball&#10;&#10;Description automatically generated">
            <a:extLst>
              <a:ext uri="{FF2B5EF4-FFF2-40B4-BE49-F238E27FC236}">
                <a16:creationId xmlns:a16="http://schemas.microsoft.com/office/drawing/2014/main" id="{DA4F7B87-FCC0-5D93-D747-062AB41BE37C}"/>
              </a:ext>
            </a:extLst>
          </p:cNvPr>
          <p:cNvPicPr>
            <a:picLocks noChangeAspect="1"/>
          </p:cNvPicPr>
          <p:nvPr/>
        </p:nvPicPr>
        <p:blipFill>
          <a:blip r:embed="rId2"/>
          <a:stretch>
            <a:fillRect/>
          </a:stretch>
        </p:blipFill>
        <p:spPr>
          <a:xfrm>
            <a:off x="11051426" y="110159"/>
            <a:ext cx="1025350" cy="972407"/>
          </a:xfrm>
          <a:prstGeom prst="rect">
            <a:avLst/>
          </a:prstGeom>
        </p:spPr>
      </p:pic>
      <p:pic>
        <p:nvPicPr>
          <p:cNvPr id="9" name="Content Placeholder 8" descr="A silhouette of a person's head with gears&#10;&#10;Description automatically generated">
            <a:extLst>
              <a:ext uri="{FF2B5EF4-FFF2-40B4-BE49-F238E27FC236}">
                <a16:creationId xmlns:a16="http://schemas.microsoft.com/office/drawing/2014/main" id="{8E110EB4-0E4F-7835-6776-091F1C45E3E5}"/>
              </a:ext>
            </a:extLst>
          </p:cNvPr>
          <p:cNvPicPr>
            <a:picLocks noGrp="1" noChangeAspect="1"/>
          </p:cNvPicPr>
          <p:nvPr>
            <p:ph sz="quarter" idx="4"/>
          </p:nvPr>
        </p:nvPicPr>
        <p:blipFill>
          <a:blip r:embed="rId3"/>
          <a:stretch>
            <a:fillRect/>
          </a:stretch>
        </p:blipFill>
        <p:spPr>
          <a:xfrm>
            <a:off x="5599577" y="1622386"/>
            <a:ext cx="6022045" cy="3613227"/>
          </a:xfrm>
        </p:spPr>
      </p:pic>
    </p:spTree>
    <p:extLst>
      <p:ext uri="{BB962C8B-B14F-4D97-AF65-F5344CB8AC3E}">
        <p14:creationId xmlns:p14="http://schemas.microsoft.com/office/powerpoint/2010/main" val="346799480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2" name="Oval 41">
            <a:extLst>
              <a:ext uri="{FF2B5EF4-FFF2-40B4-BE49-F238E27FC236}">
                <a16:creationId xmlns:a16="http://schemas.microsoft.com/office/drawing/2014/main" id="{6E442FDF-5428-4CB2-B0F0-1C39F39DB9A6}"/>
              </a:ext>
            </a:extLst>
          </p:cNvPr>
          <p:cNvSpPr/>
          <p:nvPr/>
        </p:nvSpPr>
        <p:spPr>
          <a:xfrm>
            <a:off x="2095501" y="4286251"/>
            <a:ext cx="1928813" cy="1285875"/>
          </a:xfrm>
          <a:prstGeom prst="ellipse">
            <a:avLst/>
          </a:prstGeom>
          <a:solidFill>
            <a:schemeClr val="tx2">
              <a:lumMod val="25000"/>
              <a:lumOff val="75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endParaRPr lang="en-GB" dirty="0"/>
          </a:p>
        </p:txBody>
      </p:sp>
      <p:sp>
        <p:nvSpPr>
          <p:cNvPr id="7171" name="TextBox 44">
            <a:extLst>
              <a:ext uri="{FF2B5EF4-FFF2-40B4-BE49-F238E27FC236}">
                <a16:creationId xmlns:a16="http://schemas.microsoft.com/office/drawing/2014/main" id="{13C492E2-0D1B-411C-9FFF-C80375C07FAD}"/>
              </a:ext>
            </a:extLst>
          </p:cNvPr>
          <p:cNvSpPr txBox="1">
            <a:spLocks noChangeArrowheads="1"/>
          </p:cNvSpPr>
          <p:nvPr/>
        </p:nvSpPr>
        <p:spPr bwMode="auto">
          <a:xfrm>
            <a:off x="2469155" y="4665921"/>
            <a:ext cx="1500187" cy="523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2400">
                <a:solidFill>
                  <a:srgbClr val="0000FF"/>
                </a:solidFill>
                <a:latin typeface="Tahoma" panose="020B0604030504040204" pitchFamily="34" charset="0"/>
              </a:defRPr>
            </a:lvl1pPr>
            <a:lvl2pPr marL="742950" indent="-285750">
              <a:defRPr sz="2400">
                <a:solidFill>
                  <a:srgbClr val="0000FF"/>
                </a:solidFill>
                <a:latin typeface="Tahoma" panose="020B0604030504040204" pitchFamily="34" charset="0"/>
              </a:defRPr>
            </a:lvl2pPr>
            <a:lvl3pPr marL="1143000" indent="-228600">
              <a:defRPr sz="2400">
                <a:solidFill>
                  <a:srgbClr val="0000FF"/>
                </a:solidFill>
                <a:latin typeface="Tahoma" panose="020B0604030504040204" pitchFamily="34" charset="0"/>
              </a:defRPr>
            </a:lvl3pPr>
            <a:lvl4pPr marL="1600200" indent="-228600">
              <a:defRPr sz="2400">
                <a:solidFill>
                  <a:srgbClr val="0000FF"/>
                </a:solidFill>
                <a:latin typeface="Tahoma" panose="020B0604030504040204" pitchFamily="34" charset="0"/>
              </a:defRPr>
            </a:lvl4pPr>
            <a:lvl5pPr marL="2057400" indent="-228600">
              <a:defRPr sz="2400">
                <a:solidFill>
                  <a:srgbClr val="0000FF"/>
                </a:solidFill>
                <a:latin typeface="Tahoma" panose="020B0604030504040204" pitchFamily="34" charset="0"/>
              </a:defRPr>
            </a:lvl5pPr>
            <a:lvl6pPr marL="2514600" indent="-228600" algn="ctr" eaLnBrk="0" fontAlgn="base" hangingPunct="0">
              <a:spcBef>
                <a:spcPct val="0"/>
              </a:spcBef>
              <a:spcAft>
                <a:spcPct val="0"/>
              </a:spcAft>
              <a:defRPr sz="2400">
                <a:solidFill>
                  <a:srgbClr val="0000FF"/>
                </a:solidFill>
                <a:latin typeface="Tahoma" panose="020B0604030504040204" pitchFamily="34" charset="0"/>
              </a:defRPr>
            </a:lvl6pPr>
            <a:lvl7pPr marL="2971800" indent="-228600" algn="ctr" eaLnBrk="0" fontAlgn="base" hangingPunct="0">
              <a:spcBef>
                <a:spcPct val="0"/>
              </a:spcBef>
              <a:spcAft>
                <a:spcPct val="0"/>
              </a:spcAft>
              <a:defRPr sz="2400">
                <a:solidFill>
                  <a:srgbClr val="0000FF"/>
                </a:solidFill>
                <a:latin typeface="Tahoma" panose="020B0604030504040204" pitchFamily="34" charset="0"/>
              </a:defRPr>
            </a:lvl7pPr>
            <a:lvl8pPr marL="3429000" indent="-228600" algn="ctr" eaLnBrk="0" fontAlgn="base" hangingPunct="0">
              <a:spcBef>
                <a:spcPct val="0"/>
              </a:spcBef>
              <a:spcAft>
                <a:spcPct val="0"/>
              </a:spcAft>
              <a:defRPr sz="2400">
                <a:solidFill>
                  <a:srgbClr val="0000FF"/>
                </a:solidFill>
                <a:latin typeface="Tahoma" panose="020B0604030504040204" pitchFamily="34" charset="0"/>
              </a:defRPr>
            </a:lvl8pPr>
            <a:lvl9pPr marL="3886200" indent="-228600" algn="ctr" eaLnBrk="0" fontAlgn="base" hangingPunct="0">
              <a:spcBef>
                <a:spcPct val="0"/>
              </a:spcBef>
              <a:spcAft>
                <a:spcPct val="0"/>
              </a:spcAft>
              <a:defRPr sz="2400">
                <a:solidFill>
                  <a:srgbClr val="0000FF"/>
                </a:solidFill>
                <a:latin typeface="Tahoma" panose="020B0604030504040204" pitchFamily="34" charset="0"/>
              </a:defRPr>
            </a:lvl9pPr>
          </a:lstStyle>
          <a:p>
            <a:r>
              <a:rPr lang="en-GB" altLang="en-US" sz="1400" dirty="0"/>
              <a:t>Contractor Management</a:t>
            </a:r>
          </a:p>
        </p:txBody>
      </p:sp>
      <p:sp>
        <p:nvSpPr>
          <p:cNvPr id="9" name="Oval 8">
            <a:extLst>
              <a:ext uri="{FF2B5EF4-FFF2-40B4-BE49-F238E27FC236}">
                <a16:creationId xmlns:a16="http://schemas.microsoft.com/office/drawing/2014/main" id="{5C4794D9-C818-426D-A76F-ABDF2ED063FD}"/>
              </a:ext>
            </a:extLst>
          </p:cNvPr>
          <p:cNvSpPr/>
          <p:nvPr/>
        </p:nvSpPr>
        <p:spPr>
          <a:xfrm>
            <a:off x="7024688" y="3643314"/>
            <a:ext cx="1928812" cy="1285875"/>
          </a:xfrm>
          <a:prstGeom prst="ellipse">
            <a:avLst/>
          </a:prstGeom>
          <a:solidFill>
            <a:schemeClr val="tx2">
              <a:lumMod val="25000"/>
              <a:lumOff val="75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endParaRPr lang="en-GB" dirty="0"/>
          </a:p>
        </p:txBody>
      </p:sp>
      <p:sp>
        <p:nvSpPr>
          <p:cNvPr id="10" name="Oval 9">
            <a:extLst>
              <a:ext uri="{FF2B5EF4-FFF2-40B4-BE49-F238E27FC236}">
                <a16:creationId xmlns:a16="http://schemas.microsoft.com/office/drawing/2014/main" id="{E872893C-0E87-44E1-ABAF-749C5A7632EC}"/>
              </a:ext>
            </a:extLst>
          </p:cNvPr>
          <p:cNvSpPr/>
          <p:nvPr/>
        </p:nvSpPr>
        <p:spPr>
          <a:xfrm>
            <a:off x="4953001" y="2643189"/>
            <a:ext cx="1928813" cy="1285875"/>
          </a:xfrm>
          <a:prstGeom prst="ellipse">
            <a:avLst/>
          </a:prstGeom>
          <a:solidFill>
            <a:schemeClr val="tx2">
              <a:lumMod val="50000"/>
              <a:lumOff val="50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endParaRPr lang="en-GB" dirty="0"/>
          </a:p>
        </p:txBody>
      </p:sp>
      <p:sp>
        <p:nvSpPr>
          <p:cNvPr id="11" name="Oval 10">
            <a:extLst>
              <a:ext uri="{FF2B5EF4-FFF2-40B4-BE49-F238E27FC236}">
                <a16:creationId xmlns:a16="http://schemas.microsoft.com/office/drawing/2014/main" id="{E01A591C-36BB-47CF-9069-204CCF5BD8A3}"/>
              </a:ext>
            </a:extLst>
          </p:cNvPr>
          <p:cNvSpPr/>
          <p:nvPr/>
        </p:nvSpPr>
        <p:spPr>
          <a:xfrm>
            <a:off x="2166938" y="2357439"/>
            <a:ext cx="1928812" cy="1285875"/>
          </a:xfrm>
          <a:prstGeom prst="ellipse">
            <a:avLst/>
          </a:prstGeom>
          <a:solidFill>
            <a:schemeClr val="tx2">
              <a:lumMod val="25000"/>
              <a:lumOff val="75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endParaRPr lang="en-GB" dirty="0"/>
          </a:p>
        </p:txBody>
      </p:sp>
      <p:sp>
        <p:nvSpPr>
          <p:cNvPr id="12" name="Oval 11">
            <a:extLst>
              <a:ext uri="{FF2B5EF4-FFF2-40B4-BE49-F238E27FC236}">
                <a16:creationId xmlns:a16="http://schemas.microsoft.com/office/drawing/2014/main" id="{1D169679-BA99-447C-AE65-13B4DEE2402C}"/>
              </a:ext>
            </a:extLst>
          </p:cNvPr>
          <p:cNvSpPr/>
          <p:nvPr/>
        </p:nvSpPr>
        <p:spPr>
          <a:xfrm>
            <a:off x="4810126" y="5072064"/>
            <a:ext cx="1928813" cy="1285875"/>
          </a:xfrm>
          <a:prstGeom prst="ellipse">
            <a:avLst/>
          </a:prstGeom>
          <a:solidFill>
            <a:schemeClr val="tx2">
              <a:lumMod val="25000"/>
              <a:lumOff val="75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endParaRPr lang="en-GB" dirty="0"/>
          </a:p>
        </p:txBody>
      </p:sp>
      <p:sp>
        <p:nvSpPr>
          <p:cNvPr id="13" name="Oval 12">
            <a:extLst>
              <a:ext uri="{FF2B5EF4-FFF2-40B4-BE49-F238E27FC236}">
                <a16:creationId xmlns:a16="http://schemas.microsoft.com/office/drawing/2014/main" id="{302A0CC9-AF2D-4DED-9987-192786601EEA}"/>
              </a:ext>
            </a:extLst>
          </p:cNvPr>
          <p:cNvSpPr/>
          <p:nvPr/>
        </p:nvSpPr>
        <p:spPr>
          <a:xfrm>
            <a:off x="3024188" y="500064"/>
            <a:ext cx="1928812" cy="1285875"/>
          </a:xfrm>
          <a:prstGeom prst="ellipse">
            <a:avLst/>
          </a:prstGeom>
          <a:solidFill>
            <a:schemeClr val="tx2">
              <a:lumMod val="25000"/>
              <a:lumOff val="75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endParaRPr lang="en-GB" dirty="0"/>
          </a:p>
        </p:txBody>
      </p:sp>
      <p:sp>
        <p:nvSpPr>
          <p:cNvPr id="7177" name="TextBox 44">
            <a:extLst>
              <a:ext uri="{FF2B5EF4-FFF2-40B4-BE49-F238E27FC236}">
                <a16:creationId xmlns:a16="http://schemas.microsoft.com/office/drawing/2014/main" id="{109C17A3-D44D-40A0-AA26-56F5EDE34676}"/>
              </a:ext>
            </a:extLst>
          </p:cNvPr>
          <p:cNvSpPr txBox="1">
            <a:spLocks noChangeArrowheads="1"/>
          </p:cNvSpPr>
          <p:nvPr/>
        </p:nvSpPr>
        <p:spPr bwMode="auto">
          <a:xfrm>
            <a:off x="9328152" y="4445297"/>
            <a:ext cx="1500187"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2400">
                <a:solidFill>
                  <a:srgbClr val="0000FF"/>
                </a:solidFill>
                <a:latin typeface="Tahoma" panose="020B0604030504040204" pitchFamily="34" charset="0"/>
              </a:defRPr>
            </a:lvl1pPr>
            <a:lvl2pPr marL="742950" indent="-285750">
              <a:defRPr sz="2400">
                <a:solidFill>
                  <a:srgbClr val="0000FF"/>
                </a:solidFill>
                <a:latin typeface="Tahoma" panose="020B0604030504040204" pitchFamily="34" charset="0"/>
              </a:defRPr>
            </a:lvl2pPr>
            <a:lvl3pPr marL="1143000" indent="-228600">
              <a:defRPr sz="2400">
                <a:solidFill>
                  <a:srgbClr val="0000FF"/>
                </a:solidFill>
                <a:latin typeface="Tahoma" panose="020B0604030504040204" pitchFamily="34" charset="0"/>
              </a:defRPr>
            </a:lvl3pPr>
            <a:lvl4pPr marL="1600200" indent="-228600">
              <a:defRPr sz="2400">
                <a:solidFill>
                  <a:srgbClr val="0000FF"/>
                </a:solidFill>
                <a:latin typeface="Tahoma" panose="020B0604030504040204" pitchFamily="34" charset="0"/>
              </a:defRPr>
            </a:lvl4pPr>
            <a:lvl5pPr marL="2057400" indent="-228600">
              <a:defRPr sz="2400">
                <a:solidFill>
                  <a:srgbClr val="0000FF"/>
                </a:solidFill>
                <a:latin typeface="Tahoma" panose="020B0604030504040204" pitchFamily="34" charset="0"/>
              </a:defRPr>
            </a:lvl5pPr>
            <a:lvl6pPr marL="2514600" indent="-228600" algn="ctr" eaLnBrk="0" fontAlgn="base" hangingPunct="0">
              <a:spcBef>
                <a:spcPct val="0"/>
              </a:spcBef>
              <a:spcAft>
                <a:spcPct val="0"/>
              </a:spcAft>
              <a:defRPr sz="2400">
                <a:solidFill>
                  <a:srgbClr val="0000FF"/>
                </a:solidFill>
                <a:latin typeface="Tahoma" panose="020B0604030504040204" pitchFamily="34" charset="0"/>
              </a:defRPr>
            </a:lvl6pPr>
            <a:lvl7pPr marL="2971800" indent="-228600" algn="ctr" eaLnBrk="0" fontAlgn="base" hangingPunct="0">
              <a:spcBef>
                <a:spcPct val="0"/>
              </a:spcBef>
              <a:spcAft>
                <a:spcPct val="0"/>
              </a:spcAft>
              <a:defRPr sz="2400">
                <a:solidFill>
                  <a:srgbClr val="0000FF"/>
                </a:solidFill>
                <a:latin typeface="Tahoma" panose="020B0604030504040204" pitchFamily="34" charset="0"/>
              </a:defRPr>
            </a:lvl7pPr>
            <a:lvl8pPr marL="3429000" indent="-228600" algn="ctr" eaLnBrk="0" fontAlgn="base" hangingPunct="0">
              <a:spcBef>
                <a:spcPct val="0"/>
              </a:spcBef>
              <a:spcAft>
                <a:spcPct val="0"/>
              </a:spcAft>
              <a:defRPr sz="2400">
                <a:solidFill>
                  <a:srgbClr val="0000FF"/>
                </a:solidFill>
                <a:latin typeface="Tahoma" panose="020B0604030504040204" pitchFamily="34" charset="0"/>
              </a:defRPr>
            </a:lvl8pPr>
            <a:lvl9pPr marL="3886200" indent="-228600" algn="ctr" eaLnBrk="0" fontAlgn="base" hangingPunct="0">
              <a:spcBef>
                <a:spcPct val="0"/>
              </a:spcBef>
              <a:spcAft>
                <a:spcPct val="0"/>
              </a:spcAft>
              <a:defRPr sz="2400">
                <a:solidFill>
                  <a:srgbClr val="0000FF"/>
                </a:solidFill>
                <a:latin typeface="Tahoma" panose="020B0604030504040204" pitchFamily="34" charset="0"/>
              </a:defRPr>
            </a:lvl9pPr>
          </a:lstStyle>
          <a:p>
            <a:r>
              <a:rPr lang="en-GB" altLang="en-US" sz="1400" dirty="0"/>
              <a:t> Process Hazard Analysis</a:t>
            </a:r>
          </a:p>
        </p:txBody>
      </p:sp>
      <p:sp>
        <p:nvSpPr>
          <p:cNvPr id="7178" name="TextBox 44">
            <a:extLst>
              <a:ext uri="{FF2B5EF4-FFF2-40B4-BE49-F238E27FC236}">
                <a16:creationId xmlns:a16="http://schemas.microsoft.com/office/drawing/2014/main" id="{9904F31F-847F-4385-8512-91AC703EADE1}"/>
              </a:ext>
            </a:extLst>
          </p:cNvPr>
          <p:cNvSpPr txBox="1">
            <a:spLocks noChangeArrowheads="1"/>
          </p:cNvSpPr>
          <p:nvPr/>
        </p:nvSpPr>
        <p:spPr bwMode="auto">
          <a:xfrm>
            <a:off x="7239000" y="5429251"/>
            <a:ext cx="1500188"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2400">
                <a:solidFill>
                  <a:srgbClr val="0000FF"/>
                </a:solidFill>
                <a:latin typeface="Tahoma" panose="020B0604030504040204" pitchFamily="34" charset="0"/>
              </a:defRPr>
            </a:lvl1pPr>
            <a:lvl2pPr marL="742950" indent="-285750">
              <a:defRPr sz="2400">
                <a:solidFill>
                  <a:srgbClr val="0000FF"/>
                </a:solidFill>
                <a:latin typeface="Tahoma" panose="020B0604030504040204" pitchFamily="34" charset="0"/>
              </a:defRPr>
            </a:lvl2pPr>
            <a:lvl3pPr marL="1143000" indent="-228600">
              <a:defRPr sz="2400">
                <a:solidFill>
                  <a:srgbClr val="0000FF"/>
                </a:solidFill>
                <a:latin typeface="Tahoma" panose="020B0604030504040204" pitchFamily="34" charset="0"/>
              </a:defRPr>
            </a:lvl3pPr>
            <a:lvl4pPr marL="1600200" indent="-228600">
              <a:defRPr sz="2400">
                <a:solidFill>
                  <a:srgbClr val="0000FF"/>
                </a:solidFill>
                <a:latin typeface="Tahoma" panose="020B0604030504040204" pitchFamily="34" charset="0"/>
              </a:defRPr>
            </a:lvl4pPr>
            <a:lvl5pPr marL="2057400" indent="-228600">
              <a:defRPr sz="2400">
                <a:solidFill>
                  <a:srgbClr val="0000FF"/>
                </a:solidFill>
                <a:latin typeface="Tahoma" panose="020B0604030504040204" pitchFamily="34" charset="0"/>
              </a:defRPr>
            </a:lvl5pPr>
            <a:lvl6pPr marL="2514600" indent="-228600" algn="ctr" eaLnBrk="0" fontAlgn="base" hangingPunct="0">
              <a:spcBef>
                <a:spcPct val="0"/>
              </a:spcBef>
              <a:spcAft>
                <a:spcPct val="0"/>
              </a:spcAft>
              <a:defRPr sz="2400">
                <a:solidFill>
                  <a:srgbClr val="0000FF"/>
                </a:solidFill>
                <a:latin typeface="Tahoma" panose="020B0604030504040204" pitchFamily="34" charset="0"/>
              </a:defRPr>
            </a:lvl6pPr>
            <a:lvl7pPr marL="2971800" indent="-228600" algn="ctr" eaLnBrk="0" fontAlgn="base" hangingPunct="0">
              <a:spcBef>
                <a:spcPct val="0"/>
              </a:spcBef>
              <a:spcAft>
                <a:spcPct val="0"/>
              </a:spcAft>
              <a:defRPr sz="2400">
                <a:solidFill>
                  <a:srgbClr val="0000FF"/>
                </a:solidFill>
                <a:latin typeface="Tahoma" panose="020B0604030504040204" pitchFamily="34" charset="0"/>
              </a:defRPr>
            </a:lvl7pPr>
            <a:lvl8pPr marL="3429000" indent="-228600" algn="ctr" eaLnBrk="0" fontAlgn="base" hangingPunct="0">
              <a:spcBef>
                <a:spcPct val="0"/>
              </a:spcBef>
              <a:spcAft>
                <a:spcPct val="0"/>
              </a:spcAft>
              <a:defRPr sz="2400">
                <a:solidFill>
                  <a:srgbClr val="0000FF"/>
                </a:solidFill>
                <a:latin typeface="Tahoma" panose="020B0604030504040204" pitchFamily="34" charset="0"/>
              </a:defRPr>
            </a:lvl8pPr>
            <a:lvl9pPr marL="3886200" indent="-228600" algn="ctr" eaLnBrk="0" fontAlgn="base" hangingPunct="0">
              <a:spcBef>
                <a:spcPct val="0"/>
              </a:spcBef>
              <a:spcAft>
                <a:spcPct val="0"/>
              </a:spcAft>
              <a:defRPr sz="2400">
                <a:solidFill>
                  <a:srgbClr val="0000FF"/>
                </a:solidFill>
                <a:latin typeface="Tahoma" panose="020B0604030504040204" pitchFamily="34" charset="0"/>
              </a:defRPr>
            </a:lvl9pPr>
          </a:lstStyle>
          <a:p>
            <a:r>
              <a:rPr lang="en-GB" altLang="en-US" sz="1400" dirty="0"/>
              <a:t>         SIL</a:t>
            </a:r>
          </a:p>
        </p:txBody>
      </p:sp>
      <p:sp>
        <p:nvSpPr>
          <p:cNvPr id="7179" name="TextBox 44">
            <a:extLst>
              <a:ext uri="{FF2B5EF4-FFF2-40B4-BE49-F238E27FC236}">
                <a16:creationId xmlns:a16="http://schemas.microsoft.com/office/drawing/2014/main" id="{4DBB5A8F-CA58-4C32-8F11-2C3D2DFE1214}"/>
              </a:ext>
            </a:extLst>
          </p:cNvPr>
          <p:cNvSpPr txBox="1">
            <a:spLocks noChangeArrowheads="1"/>
          </p:cNvSpPr>
          <p:nvPr/>
        </p:nvSpPr>
        <p:spPr bwMode="auto">
          <a:xfrm>
            <a:off x="8882064" y="3429001"/>
            <a:ext cx="1870019"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2400">
                <a:solidFill>
                  <a:srgbClr val="0000FF"/>
                </a:solidFill>
                <a:latin typeface="Tahoma" panose="020B0604030504040204" pitchFamily="34" charset="0"/>
              </a:defRPr>
            </a:lvl1pPr>
            <a:lvl2pPr marL="742950" indent="-285750">
              <a:defRPr sz="2400">
                <a:solidFill>
                  <a:srgbClr val="0000FF"/>
                </a:solidFill>
                <a:latin typeface="Tahoma" panose="020B0604030504040204" pitchFamily="34" charset="0"/>
              </a:defRPr>
            </a:lvl2pPr>
            <a:lvl3pPr marL="1143000" indent="-228600">
              <a:defRPr sz="2400">
                <a:solidFill>
                  <a:srgbClr val="0000FF"/>
                </a:solidFill>
                <a:latin typeface="Tahoma" panose="020B0604030504040204" pitchFamily="34" charset="0"/>
              </a:defRPr>
            </a:lvl3pPr>
            <a:lvl4pPr marL="1600200" indent="-228600">
              <a:defRPr sz="2400">
                <a:solidFill>
                  <a:srgbClr val="0000FF"/>
                </a:solidFill>
                <a:latin typeface="Tahoma" panose="020B0604030504040204" pitchFamily="34" charset="0"/>
              </a:defRPr>
            </a:lvl4pPr>
            <a:lvl5pPr marL="2057400" indent="-228600">
              <a:defRPr sz="2400">
                <a:solidFill>
                  <a:srgbClr val="0000FF"/>
                </a:solidFill>
                <a:latin typeface="Tahoma" panose="020B0604030504040204" pitchFamily="34" charset="0"/>
              </a:defRPr>
            </a:lvl5pPr>
            <a:lvl6pPr marL="2514600" indent="-228600" algn="ctr" eaLnBrk="0" fontAlgn="base" hangingPunct="0">
              <a:spcBef>
                <a:spcPct val="0"/>
              </a:spcBef>
              <a:spcAft>
                <a:spcPct val="0"/>
              </a:spcAft>
              <a:defRPr sz="2400">
                <a:solidFill>
                  <a:srgbClr val="0000FF"/>
                </a:solidFill>
                <a:latin typeface="Tahoma" panose="020B0604030504040204" pitchFamily="34" charset="0"/>
              </a:defRPr>
            </a:lvl6pPr>
            <a:lvl7pPr marL="2971800" indent="-228600" algn="ctr" eaLnBrk="0" fontAlgn="base" hangingPunct="0">
              <a:spcBef>
                <a:spcPct val="0"/>
              </a:spcBef>
              <a:spcAft>
                <a:spcPct val="0"/>
              </a:spcAft>
              <a:defRPr sz="2400">
                <a:solidFill>
                  <a:srgbClr val="0000FF"/>
                </a:solidFill>
                <a:latin typeface="Tahoma" panose="020B0604030504040204" pitchFamily="34" charset="0"/>
              </a:defRPr>
            </a:lvl7pPr>
            <a:lvl8pPr marL="3429000" indent="-228600" algn="ctr" eaLnBrk="0" fontAlgn="base" hangingPunct="0">
              <a:spcBef>
                <a:spcPct val="0"/>
              </a:spcBef>
              <a:spcAft>
                <a:spcPct val="0"/>
              </a:spcAft>
              <a:defRPr sz="2400">
                <a:solidFill>
                  <a:srgbClr val="0000FF"/>
                </a:solidFill>
                <a:latin typeface="Tahoma" panose="020B0604030504040204" pitchFamily="34" charset="0"/>
              </a:defRPr>
            </a:lvl8pPr>
            <a:lvl9pPr marL="3886200" indent="-228600" algn="ctr" eaLnBrk="0" fontAlgn="base" hangingPunct="0">
              <a:spcBef>
                <a:spcPct val="0"/>
              </a:spcBef>
              <a:spcAft>
                <a:spcPct val="0"/>
              </a:spcAft>
              <a:defRPr sz="2400">
                <a:solidFill>
                  <a:srgbClr val="0000FF"/>
                </a:solidFill>
                <a:latin typeface="Tahoma" panose="020B0604030504040204" pitchFamily="34" charset="0"/>
              </a:defRPr>
            </a:lvl9pPr>
          </a:lstStyle>
          <a:p>
            <a:r>
              <a:rPr lang="en-GB" altLang="en-US" sz="1400" dirty="0"/>
              <a:t>Safety Report / QRA</a:t>
            </a:r>
          </a:p>
        </p:txBody>
      </p:sp>
      <p:sp>
        <p:nvSpPr>
          <p:cNvPr id="7180" name="TextBox 44">
            <a:extLst>
              <a:ext uri="{FF2B5EF4-FFF2-40B4-BE49-F238E27FC236}">
                <a16:creationId xmlns:a16="http://schemas.microsoft.com/office/drawing/2014/main" id="{5CA8005B-5972-4038-B1DA-A1000F74826C}"/>
              </a:ext>
            </a:extLst>
          </p:cNvPr>
          <p:cNvSpPr txBox="1">
            <a:spLocks noChangeArrowheads="1"/>
          </p:cNvSpPr>
          <p:nvPr/>
        </p:nvSpPr>
        <p:spPr bwMode="auto">
          <a:xfrm>
            <a:off x="7328694" y="3809197"/>
            <a:ext cx="1500188" cy="9541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2400">
                <a:solidFill>
                  <a:srgbClr val="0000FF"/>
                </a:solidFill>
                <a:latin typeface="Tahoma" panose="020B0604030504040204" pitchFamily="34" charset="0"/>
              </a:defRPr>
            </a:lvl1pPr>
            <a:lvl2pPr marL="742950" indent="-285750">
              <a:defRPr sz="2400">
                <a:solidFill>
                  <a:srgbClr val="0000FF"/>
                </a:solidFill>
                <a:latin typeface="Tahoma" panose="020B0604030504040204" pitchFamily="34" charset="0"/>
              </a:defRPr>
            </a:lvl2pPr>
            <a:lvl3pPr marL="1143000" indent="-228600">
              <a:defRPr sz="2400">
                <a:solidFill>
                  <a:srgbClr val="0000FF"/>
                </a:solidFill>
                <a:latin typeface="Tahoma" panose="020B0604030504040204" pitchFamily="34" charset="0"/>
              </a:defRPr>
            </a:lvl3pPr>
            <a:lvl4pPr marL="1600200" indent="-228600">
              <a:defRPr sz="2400">
                <a:solidFill>
                  <a:srgbClr val="0000FF"/>
                </a:solidFill>
                <a:latin typeface="Tahoma" panose="020B0604030504040204" pitchFamily="34" charset="0"/>
              </a:defRPr>
            </a:lvl4pPr>
            <a:lvl5pPr marL="2057400" indent="-228600">
              <a:defRPr sz="2400">
                <a:solidFill>
                  <a:srgbClr val="0000FF"/>
                </a:solidFill>
                <a:latin typeface="Tahoma" panose="020B0604030504040204" pitchFamily="34" charset="0"/>
              </a:defRPr>
            </a:lvl5pPr>
            <a:lvl6pPr marL="2514600" indent="-228600" algn="ctr" eaLnBrk="0" fontAlgn="base" hangingPunct="0">
              <a:spcBef>
                <a:spcPct val="0"/>
              </a:spcBef>
              <a:spcAft>
                <a:spcPct val="0"/>
              </a:spcAft>
              <a:defRPr sz="2400">
                <a:solidFill>
                  <a:srgbClr val="0000FF"/>
                </a:solidFill>
                <a:latin typeface="Tahoma" panose="020B0604030504040204" pitchFamily="34" charset="0"/>
              </a:defRPr>
            </a:lvl6pPr>
            <a:lvl7pPr marL="2971800" indent="-228600" algn="ctr" eaLnBrk="0" fontAlgn="base" hangingPunct="0">
              <a:spcBef>
                <a:spcPct val="0"/>
              </a:spcBef>
              <a:spcAft>
                <a:spcPct val="0"/>
              </a:spcAft>
              <a:defRPr sz="2400">
                <a:solidFill>
                  <a:srgbClr val="0000FF"/>
                </a:solidFill>
                <a:latin typeface="Tahoma" panose="020B0604030504040204" pitchFamily="34" charset="0"/>
              </a:defRPr>
            </a:lvl7pPr>
            <a:lvl8pPr marL="3429000" indent="-228600" algn="ctr" eaLnBrk="0" fontAlgn="base" hangingPunct="0">
              <a:spcBef>
                <a:spcPct val="0"/>
              </a:spcBef>
              <a:spcAft>
                <a:spcPct val="0"/>
              </a:spcAft>
              <a:defRPr sz="2400">
                <a:solidFill>
                  <a:srgbClr val="0000FF"/>
                </a:solidFill>
                <a:latin typeface="Tahoma" panose="020B0604030504040204" pitchFamily="34" charset="0"/>
              </a:defRPr>
            </a:lvl8pPr>
            <a:lvl9pPr marL="3886200" indent="-228600" algn="ctr" eaLnBrk="0" fontAlgn="base" hangingPunct="0">
              <a:spcBef>
                <a:spcPct val="0"/>
              </a:spcBef>
              <a:spcAft>
                <a:spcPct val="0"/>
              </a:spcAft>
              <a:defRPr sz="2400">
                <a:solidFill>
                  <a:srgbClr val="0000FF"/>
                </a:solidFill>
                <a:latin typeface="Tahoma" panose="020B0604030504040204" pitchFamily="34" charset="0"/>
              </a:defRPr>
            </a:lvl9pPr>
          </a:lstStyle>
          <a:p>
            <a:r>
              <a:rPr lang="en-GB" altLang="en-US" sz="1400" dirty="0"/>
              <a:t>Safety Engineering / Integrity Management</a:t>
            </a:r>
          </a:p>
        </p:txBody>
      </p:sp>
      <p:sp>
        <p:nvSpPr>
          <p:cNvPr id="7181" name="TextBox 44">
            <a:extLst>
              <a:ext uri="{FF2B5EF4-FFF2-40B4-BE49-F238E27FC236}">
                <a16:creationId xmlns:a16="http://schemas.microsoft.com/office/drawing/2014/main" id="{5B91B26E-259A-43AC-82D8-D550AF32FB4A}"/>
              </a:ext>
            </a:extLst>
          </p:cNvPr>
          <p:cNvSpPr txBox="1">
            <a:spLocks noChangeArrowheads="1"/>
          </p:cNvSpPr>
          <p:nvPr/>
        </p:nvSpPr>
        <p:spPr bwMode="auto">
          <a:xfrm>
            <a:off x="5095876" y="2928938"/>
            <a:ext cx="1643063" cy="6461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2400">
                <a:solidFill>
                  <a:srgbClr val="0000FF"/>
                </a:solidFill>
                <a:latin typeface="Tahoma" panose="020B0604030504040204" pitchFamily="34" charset="0"/>
              </a:defRPr>
            </a:lvl1pPr>
            <a:lvl2pPr marL="742950" indent="-285750">
              <a:defRPr sz="2400">
                <a:solidFill>
                  <a:srgbClr val="0000FF"/>
                </a:solidFill>
                <a:latin typeface="Tahoma" panose="020B0604030504040204" pitchFamily="34" charset="0"/>
              </a:defRPr>
            </a:lvl2pPr>
            <a:lvl3pPr marL="1143000" indent="-228600">
              <a:defRPr sz="2400">
                <a:solidFill>
                  <a:srgbClr val="0000FF"/>
                </a:solidFill>
                <a:latin typeface="Tahoma" panose="020B0604030504040204" pitchFamily="34" charset="0"/>
              </a:defRPr>
            </a:lvl3pPr>
            <a:lvl4pPr marL="1600200" indent="-228600">
              <a:defRPr sz="2400">
                <a:solidFill>
                  <a:srgbClr val="0000FF"/>
                </a:solidFill>
                <a:latin typeface="Tahoma" panose="020B0604030504040204" pitchFamily="34" charset="0"/>
              </a:defRPr>
            </a:lvl4pPr>
            <a:lvl5pPr marL="2057400" indent="-228600">
              <a:defRPr sz="2400">
                <a:solidFill>
                  <a:srgbClr val="0000FF"/>
                </a:solidFill>
                <a:latin typeface="Tahoma" panose="020B0604030504040204" pitchFamily="34" charset="0"/>
              </a:defRPr>
            </a:lvl5pPr>
            <a:lvl6pPr marL="2514600" indent="-228600" algn="ctr" eaLnBrk="0" fontAlgn="base" hangingPunct="0">
              <a:spcBef>
                <a:spcPct val="0"/>
              </a:spcBef>
              <a:spcAft>
                <a:spcPct val="0"/>
              </a:spcAft>
              <a:defRPr sz="2400">
                <a:solidFill>
                  <a:srgbClr val="0000FF"/>
                </a:solidFill>
                <a:latin typeface="Tahoma" panose="020B0604030504040204" pitchFamily="34" charset="0"/>
              </a:defRPr>
            </a:lvl6pPr>
            <a:lvl7pPr marL="2971800" indent="-228600" algn="ctr" eaLnBrk="0" fontAlgn="base" hangingPunct="0">
              <a:spcBef>
                <a:spcPct val="0"/>
              </a:spcBef>
              <a:spcAft>
                <a:spcPct val="0"/>
              </a:spcAft>
              <a:defRPr sz="2400">
                <a:solidFill>
                  <a:srgbClr val="0000FF"/>
                </a:solidFill>
                <a:latin typeface="Tahoma" panose="020B0604030504040204" pitchFamily="34" charset="0"/>
              </a:defRPr>
            </a:lvl7pPr>
            <a:lvl8pPr marL="3429000" indent="-228600" algn="ctr" eaLnBrk="0" fontAlgn="base" hangingPunct="0">
              <a:spcBef>
                <a:spcPct val="0"/>
              </a:spcBef>
              <a:spcAft>
                <a:spcPct val="0"/>
              </a:spcAft>
              <a:defRPr sz="2400">
                <a:solidFill>
                  <a:srgbClr val="0000FF"/>
                </a:solidFill>
                <a:latin typeface="Tahoma" panose="020B0604030504040204" pitchFamily="34" charset="0"/>
              </a:defRPr>
            </a:lvl8pPr>
            <a:lvl9pPr marL="3886200" indent="-228600" algn="ctr" eaLnBrk="0" fontAlgn="base" hangingPunct="0">
              <a:spcBef>
                <a:spcPct val="0"/>
              </a:spcBef>
              <a:spcAft>
                <a:spcPct val="0"/>
              </a:spcAft>
              <a:defRPr sz="2400">
                <a:solidFill>
                  <a:srgbClr val="0000FF"/>
                </a:solidFill>
                <a:latin typeface="Tahoma" panose="020B0604030504040204" pitchFamily="34" charset="0"/>
              </a:defRPr>
            </a:lvl9pPr>
          </a:lstStyle>
          <a:p>
            <a:r>
              <a:rPr lang="en-GB" altLang="en-US" sz="1800" dirty="0"/>
              <a:t>      SAFE OPERATIONS</a:t>
            </a:r>
          </a:p>
        </p:txBody>
      </p:sp>
      <p:sp>
        <p:nvSpPr>
          <p:cNvPr id="7182" name="TextBox 44">
            <a:extLst>
              <a:ext uri="{FF2B5EF4-FFF2-40B4-BE49-F238E27FC236}">
                <a16:creationId xmlns:a16="http://schemas.microsoft.com/office/drawing/2014/main" id="{14E0272B-D54E-4B0A-A86D-E67B8D6AEB89}"/>
              </a:ext>
            </a:extLst>
          </p:cNvPr>
          <p:cNvSpPr txBox="1">
            <a:spLocks noChangeArrowheads="1"/>
          </p:cNvSpPr>
          <p:nvPr/>
        </p:nvSpPr>
        <p:spPr bwMode="auto">
          <a:xfrm>
            <a:off x="1738314" y="3857626"/>
            <a:ext cx="1500187"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2400">
                <a:solidFill>
                  <a:srgbClr val="0000FF"/>
                </a:solidFill>
                <a:latin typeface="Tahoma" panose="020B0604030504040204" pitchFamily="34" charset="0"/>
              </a:defRPr>
            </a:lvl1pPr>
            <a:lvl2pPr marL="742950" indent="-285750">
              <a:defRPr sz="2400">
                <a:solidFill>
                  <a:srgbClr val="0000FF"/>
                </a:solidFill>
                <a:latin typeface="Tahoma" panose="020B0604030504040204" pitchFamily="34" charset="0"/>
              </a:defRPr>
            </a:lvl2pPr>
            <a:lvl3pPr marL="1143000" indent="-228600">
              <a:defRPr sz="2400">
                <a:solidFill>
                  <a:srgbClr val="0000FF"/>
                </a:solidFill>
                <a:latin typeface="Tahoma" panose="020B0604030504040204" pitchFamily="34" charset="0"/>
              </a:defRPr>
            </a:lvl3pPr>
            <a:lvl4pPr marL="1600200" indent="-228600">
              <a:defRPr sz="2400">
                <a:solidFill>
                  <a:srgbClr val="0000FF"/>
                </a:solidFill>
                <a:latin typeface="Tahoma" panose="020B0604030504040204" pitchFamily="34" charset="0"/>
              </a:defRPr>
            </a:lvl4pPr>
            <a:lvl5pPr marL="2057400" indent="-228600">
              <a:defRPr sz="2400">
                <a:solidFill>
                  <a:srgbClr val="0000FF"/>
                </a:solidFill>
                <a:latin typeface="Tahoma" panose="020B0604030504040204" pitchFamily="34" charset="0"/>
              </a:defRPr>
            </a:lvl5pPr>
            <a:lvl6pPr marL="2514600" indent="-228600" algn="ctr" eaLnBrk="0" fontAlgn="base" hangingPunct="0">
              <a:spcBef>
                <a:spcPct val="0"/>
              </a:spcBef>
              <a:spcAft>
                <a:spcPct val="0"/>
              </a:spcAft>
              <a:defRPr sz="2400">
                <a:solidFill>
                  <a:srgbClr val="0000FF"/>
                </a:solidFill>
                <a:latin typeface="Tahoma" panose="020B0604030504040204" pitchFamily="34" charset="0"/>
              </a:defRPr>
            </a:lvl6pPr>
            <a:lvl7pPr marL="2971800" indent="-228600" algn="ctr" eaLnBrk="0" fontAlgn="base" hangingPunct="0">
              <a:spcBef>
                <a:spcPct val="0"/>
              </a:spcBef>
              <a:spcAft>
                <a:spcPct val="0"/>
              </a:spcAft>
              <a:defRPr sz="2400">
                <a:solidFill>
                  <a:srgbClr val="0000FF"/>
                </a:solidFill>
                <a:latin typeface="Tahoma" panose="020B0604030504040204" pitchFamily="34" charset="0"/>
              </a:defRPr>
            </a:lvl7pPr>
            <a:lvl8pPr marL="3429000" indent="-228600" algn="ctr" eaLnBrk="0" fontAlgn="base" hangingPunct="0">
              <a:spcBef>
                <a:spcPct val="0"/>
              </a:spcBef>
              <a:spcAft>
                <a:spcPct val="0"/>
              </a:spcAft>
              <a:defRPr sz="2400">
                <a:solidFill>
                  <a:srgbClr val="0000FF"/>
                </a:solidFill>
                <a:latin typeface="Tahoma" panose="020B0604030504040204" pitchFamily="34" charset="0"/>
              </a:defRPr>
            </a:lvl8pPr>
            <a:lvl9pPr marL="3886200" indent="-228600" algn="ctr" eaLnBrk="0" fontAlgn="base" hangingPunct="0">
              <a:spcBef>
                <a:spcPct val="0"/>
              </a:spcBef>
              <a:spcAft>
                <a:spcPct val="0"/>
              </a:spcAft>
              <a:defRPr sz="2400">
                <a:solidFill>
                  <a:srgbClr val="0000FF"/>
                </a:solidFill>
                <a:latin typeface="Tahoma" panose="020B0604030504040204" pitchFamily="34" charset="0"/>
              </a:defRPr>
            </a:lvl9pPr>
          </a:lstStyle>
          <a:p>
            <a:r>
              <a:rPr lang="en-GB" altLang="en-US" sz="1400" dirty="0"/>
              <a:t>Legislation</a:t>
            </a:r>
          </a:p>
        </p:txBody>
      </p:sp>
      <p:sp>
        <p:nvSpPr>
          <p:cNvPr id="7183" name="TextBox 44">
            <a:extLst>
              <a:ext uri="{FF2B5EF4-FFF2-40B4-BE49-F238E27FC236}">
                <a16:creationId xmlns:a16="http://schemas.microsoft.com/office/drawing/2014/main" id="{5B71365B-63F2-4462-BDB9-1B5DC1AF6B0C}"/>
              </a:ext>
            </a:extLst>
          </p:cNvPr>
          <p:cNvSpPr txBox="1">
            <a:spLocks noChangeArrowheads="1"/>
          </p:cNvSpPr>
          <p:nvPr/>
        </p:nvSpPr>
        <p:spPr bwMode="auto">
          <a:xfrm>
            <a:off x="8739189" y="5643564"/>
            <a:ext cx="1500187"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2400">
                <a:solidFill>
                  <a:srgbClr val="0000FF"/>
                </a:solidFill>
                <a:latin typeface="Tahoma" panose="020B0604030504040204" pitchFamily="34" charset="0"/>
              </a:defRPr>
            </a:lvl1pPr>
            <a:lvl2pPr marL="742950" indent="-285750">
              <a:defRPr sz="2400">
                <a:solidFill>
                  <a:srgbClr val="0000FF"/>
                </a:solidFill>
                <a:latin typeface="Tahoma" panose="020B0604030504040204" pitchFamily="34" charset="0"/>
              </a:defRPr>
            </a:lvl2pPr>
            <a:lvl3pPr marL="1143000" indent="-228600">
              <a:defRPr sz="2400">
                <a:solidFill>
                  <a:srgbClr val="0000FF"/>
                </a:solidFill>
                <a:latin typeface="Tahoma" panose="020B0604030504040204" pitchFamily="34" charset="0"/>
              </a:defRPr>
            </a:lvl3pPr>
            <a:lvl4pPr marL="1600200" indent="-228600">
              <a:defRPr sz="2400">
                <a:solidFill>
                  <a:srgbClr val="0000FF"/>
                </a:solidFill>
                <a:latin typeface="Tahoma" panose="020B0604030504040204" pitchFamily="34" charset="0"/>
              </a:defRPr>
            </a:lvl4pPr>
            <a:lvl5pPr marL="2057400" indent="-228600">
              <a:defRPr sz="2400">
                <a:solidFill>
                  <a:srgbClr val="0000FF"/>
                </a:solidFill>
                <a:latin typeface="Tahoma" panose="020B0604030504040204" pitchFamily="34" charset="0"/>
              </a:defRPr>
            </a:lvl5pPr>
            <a:lvl6pPr marL="2514600" indent="-228600" algn="ctr" eaLnBrk="0" fontAlgn="base" hangingPunct="0">
              <a:spcBef>
                <a:spcPct val="0"/>
              </a:spcBef>
              <a:spcAft>
                <a:spcPct val="0"/>
              </a:spcAft>
              <a:defRPr sz="2400">
                <a:solidFill>
                  <a:srgbClr val="0000FF"/>
                </a:solidFill>
                <a:latin typeface="Tahoma" panose="020B0604030504040204" pitchFamily="34" charset="0"/>
              </a:defRPr>
            </a:lvl6pPr>
            <a:lvl7pPr marL="2971800" indent="-228600" algn="ctr" eaLnBrk="0" fontAlgn="base" hangingPunct="0">
              <a:spcBef>
                <a:spcPct val="0"/>
              </a:spcBef>
              <a:spcAft>
                <a:spcPct val="0"/>
              </a:spcAft>
              <a:defRPr sz="2400">
                <a:solidFill>
                  <a:srgbClr val="0000FF"/>
                </a:solidFill>
                <a:latin typeface="Tahoma" panose="020B0604030504040204" pitchFamily="34" charset="0"/>
              </a:defRPr>
            </a:lvl7pPr>
            <a:lvl8pPr marL="3429000" indent="-228600" algn="ctr" eaLnBrk="0" fontAlgn="base" hangingPunct="0">
              <a:spcBef>
                <a:spcPct val="0"/>
              </a:spcBef>
              <a:spcAft>
                <a:spcPct val="0"/>
              </a:spcAft>
              <a:defRPr sz="2400">
                <a:solidFill>
                  <a:srgbClr val="0000FF"/>
                </a:solidFill>
                <a:latin typeface="Tahoma" panose="020B0604030504040204" pitchFamily="34" charset="0"/>
              </a:defRPr>
            </a:lvl8pPr>
            <a:lvl9pPr marL="3886200" indent="-228600" algn="ctr" eaLnBrk="0" fontAlgn="base" hangingPunct="0">
              <a:spcBef>
                <a:spcPct val="0"/>
              </a:spcBef>
              <a:spcAft>
                <a:spcPct val="0"/>
              </a:spcAft>
              <a:defRPr sz="2400">
                <a:solidFill>
                  <a:srgbClr val="0000FF"/>
                </a:solidFill>
                <a:latin typeface="Tahoma" panose="020B0604030504040204" pitchFamily="34" charset="0"/>
              </a:defRPr>
            </a:lvl9pPr>
          </a:lstStyle>
          <a:p>
            <a:r>
              <a:rPr lang="en-GB" altLang="en-US" sz="1400" dirty="0"/>
              <a:t>HAZOP/HAZID</a:t>
            </a:r>
          </a:p>
        </p:txBody>
      </p:sp>
      <p:sp>
        <p:nvSpPr>
          <p:cNvPr id="7184" name="TextBox 44">
            <a:extLst>
              <a:ext uri="{FF2B5EF4-FFF2-40B4-BE49-F238E27FC236}">
                <a16:creationId xmlns:a16="http://schemas.microsoft.com/office/drawing/2014/main" id="{2ABA439E-2F6F-4005-BF5D-5FC243894504}"/>
              </a:ext>
            </a:extLst>
          </p:cNvPr>
          <p:cNvSpPr txBox="1">
            <a:spLocks noChangeArrowheads="1"/>
          </p:cNvSpPr>
          <p:nvPr/>
        </p:nvSpPr>
        <p:spPr bwMode="auto">
          <a:xfrm>
            <a:off x="7071862" y="675041"/>
            <a:ext cx="1500188"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2400">
                <a:solidFill>
                  <a:srgbClr val="0000FF"/>
                </a:solidFill>
                <a:latin typeface="Tahoma" panose="020B0604030504040204" pitchFamily="34" charset="0"/>
              </a:defRPr>
            </a:lvl1pPr>
            <a:lvl2pPr marL="742950" indent="-285750">
              <a:defRPr sz="2400">
                <a:solidFill>
                  <a:srgbClr val="0000FF"/>
                </a:solidFill>
                <a:latin typeface="Tahoma" panose="020B0604030504040204" pitchFamily="34" charset="0"/>
              </a:defRPr>
            </a:lvl2pPr>
            <a:lvl3pPr marL="1143000" indent="-228600">
              <a:defRPr sz="2400">
                <a:solidFill>
                  <a:srgbClr val="0000FF"/>
                </a:solidFill>
                <a:latin typeface="Tahoma" panose="020B0604030504040204" pitchFamily="34" charset="0"/>
              </a:defRPr>
            </a:lvl3pPr>
            <a:lvl4pPr marL="1600200" indent="-228600">
              <a:defRPr sz="2400">
                <a:solidFill>
                  <a:srgbClr val="0000FF"/>
                </a:solidFill>
                <a:latin typeface="Tahoma" panose="020B0604030504040204" pitchFamily="34" charset="0"/>
              </a:defRPr>
            </a:lvl4pPr>
            <a:lvl5pPr marL="2057400" indent="-228600">
              <a:defRPr sz="2400">
                <a:solidFill>
                  <a:srgbClr val="0000FF"/>
                </a:solidFill>
                <a:latin typeface="Tahoma" panose="020B0604030504040204" pitchFamily="34" charset="0"/>
              </a:defRPr>
            </a:lvl5pPr>
            <a:lvl6pPr marL="2514600" indent="-228600" algn="ctr" eaLnBrk="0" fontAlgn="base" hangingPunct="0">
              <a:spcBef>
                <a:spcPct val="0"/>
              </a:spcBef>
              <a:spcAft>
                <a:spcPct val="0"/>
              </a:spcAft>
              <a:defRPr sz="2400">
                <a:solidFill>
                  <a:srgbClr val="0000FF"/>
                </a:solidFill>
                <a:latin typeface="Tahoma" panose="020B0604030504040204" pitchFamily="34" charset="0"/>
              </a:defRPr>
            </a:lvl6pPr>
            <a:lvl7pPr marL="2971800" indent="-228600" algn="ctr" eaLnBrk="0" fontAlgn="base" hangingPunct="0">
              <a:spcBef>
                <a:spcPct val="0"/>
              </a:spcBef>
              <a:spcAft>
                <a:spcPct val="0"/>
              </a:spcAft>
              <a:defRPr sz="2400">
                <a:solidFill>
                  <a:srgbClr val="0000FF"/>
                </a:solidFill>
                <a:latin typeface="Tahoma" panose="020B0604030504040204" pitchFamily="34" charset="0"/>
              </a:defRPr>
            </a:lvl7pPr>
            <a:lvl8pPr marL="3429000" indent="-228600" algn="ctr" eaLnBrk="0" fontAlgn="base" hangingPunct="0">
              <a:spcBef>
                <a:spcPct val="0"/>
              </a:spcBef>
              <a:spcAft>
                <a:spcPct val="0"/>
              </a:spcAft>
              <a:defRPr sz="2400">
                <a:solidFill>
                  <a:srgbClr val="0000FF"/>
                </a:solidFill>
                <a:latin typeface="Tahoma" panose="020B0604030504040204" pitchFamily="34" charset="0"/>
              </a:defRPr>
            </a:lvl8pPr>
            <a:lvl9pPr marL="3886200" indent="-228600" algn="ctr" eaLnBrk="0" fontAlgn="base" hangingPunct="0">
              <a:spcBef>
                <a:spcPct val="0"/>
              </a:spcBef>
              <a:spcAft>
                <a:spcPct val="0"/>
              </a:spcAft>
              <a:defRPr sz="2400">
                <a:solidFill>
                  <a:srgbClr val="0000FF"/>
                </a:solidFill>
                <a:latin typeface="Tahoma" panose="020B0604030504040204" pitchFamily="34" charset="0"/>
              </a:defRPr>
            </a:lvl9pPr>
          </a:lstStyle>
          <a:p>
            <a:r>
              <a:rPr lang="en-GB" altLang="en-US" sz="1400" dirty="0"/>
              <a:t>Procedures</a:t>
            </a:r>
          </a:p>
        </p:txBody>
      </p:sp>
      <p:sp>
        <p:nvSpPr>
          <p:cNvPr id="7185" name="TextBox 44">
            <a:extLst>
              <a:ext uri="{FF2B5EF4-FFF2-40B4-BE49-F238E27FC236}">
                <a16:creationId xmlns:a16="http://schemas.microsoft.com/office/drawing/2014/main" id="{7500C127-A79F-44BB-911E-9CBDA7254FD3}"/>
              </a:ext>
            </a:extLst>
          </p:cNvPr>
          <p:cNvSpPr txBox="1">
            <a:spLocks noChangeArrowheads="1"/>
          </p:cNvSpPr>
          <p:nvPr/>
        </p:nvSpPr>
        <p:spPr bwMode="auto">
          <a:xfrm>
            <a:off x="2809875" y="76697"/>
            <a:ext cx="1500187"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2400">
                <a:solidFill>
                  <a:srgbClr val="0000FF"/>
                </a:solidFill>
                <a:latin typeface="Tahoma" panose="020B0604030504040204" pitchFamily="34" charset="0"/>
              </a:defRPr>
            </a:lvl1pPr>
            <a:lvl2pPr marL="742950" indent="-285750">
              <a:defRPr sz="2400">
                <a:solidFill>
                  <a:srgbClr val="0000FF"/>
                </a:solidFill>
                <a:latin typeface="Tahoma" panose="020B0604030504040204" pitchFamily="34" charset="0"/>
              </a:defRPr>
            </a:lvl2pPr>
            <a:lvl3pPr marL="1143000" indent="-228600">
              <a:defRPr sz="2400">
                <a:solidFill>
                  <a:srgbClr val="0000FF"/>
                </a:solidFill>
                <a:latin typeface="Tahoma" panose="020B0604030504040204" pitchFamily="34" charset="0"/>
              </a:defRPr>
            </a:lvl3pPr>
            <a:lvl4pPr marL="1600200" indent="-228600">
              <a:defRPr sz="2400">
                <a:solidFill>
                  <a:srgbClr val="0000FF"/>
                </a:solidFill>
                <a:latin typeface="Tahoma" panose="020B0604030504040204" pitchFamily="34" charset="0"/>
              </a:defRPr>
            </a:lvl4pPr>
            <a:lvl5pPr marL="2057400" indent="-228600">
              <a:defRPr sz="2400">
                <a:solidFill>
                  <a:srgbClr val="0000FF"/>
                </a:solidFill>
                <a:latin typeface="Tahoma" panose="020B0604030504040204" pitchFamily="34" charset="0"/>
              </a:defRPr>
            </a:lvl5pPr>
            <a:lvl6pPr marL="2514600" indent="-228600" algn="ctr" eaLnBrk="0" fontAlgn="base" hangingPunct="0">
              <a:spcBef>
                <a:spcPct val="0"/>
              </a:spcBef>
              <a:spcAft>
                <a:spcPct val="0"/>
              </a:spcAft>
              <a:defRPr sz="2400">
                <a:solidFill>
                  <a:srgbClr val="0000FF"/>
                </a:solidFill>
                <a:latin typeface="Tahoma" panose="020B0604030504040204" pitchFamily="34" charset="0"/>
              </a:defRPr>
            </a:lvl6pPr>
            <a:lvl7pPr marL="2971800" indent="-228600" algn="ctr" eaLnBrk="0" fontAlgn="base" hangingPunct="0">
              <a:spcBef>
                <a:spcPct val="0"/>
              </a:spcBef>
              <a:spcAft>
                <a:spcPct val="0"/>
              </a:spcAft>
              <a:defRPr sz="2400">
                <a:solidFill>
                  <a:srgbClr val="0000FF"/>
                </a:solidFill>
                <a:latin typeface="Tahoma" panose="020B0604030504040204" pitchFamily="34" charset="0"/>
              </a:defRPr>
            </a:lvl7pPr>
            <a:lvl8pPr marL="3429000" indent="-228600" algn="ctr" eaLnBrk="0" fontAlgn="base" hangingPunct="0">
              <a:spcBef>
                <a:spcPct val="0"/>
              </a:spcBef>
              <a:spcAft>
                <a:spcPct val="0"/>
              </a:spcAft>
              <a:defRPr sz="2400">
                <a:solidFill>
                  <a:srgbClr val="0000FF"/>
                </a:solidFill>
                <a:latin typeface="Tahoma" panose="020B0604030504040204" pitchFamily="34" charset="0"/>
              </a:defRPr>
            </a:lvl8pPr>
            <a:lvl9pPr marL="3886200" indent="-228600" algn="ctr" eaLnBrk="0" fontAlgn="base" hangingPunct="0">
              <a:spcBef>
                <a:spcPct val="0"/>
              </a:spcBef>
              <a:spcAft>
                <a:spcPct val="0"/>
              </a:spcAft>
              <a:defRPr sz="2400">
                <a:solidFill>
                  <a:srgbClr val="0000FF"/>
                </a:solidFill>
                <a:latin typeface="Tahoma" panose="020B0604030504040204" pitchFamily="34" charset="0"/>
              </a:defRPr>
            </a:lvl9pPr>
          </a:lstStyle>
          <a:p>
            <a:r>
              <a:rPr lang="en-GB" altLang="en-US" sz="1400" dirty="0"/>
              <a:t>Assurance</a:t>
            </a:r>
          </a:p>
        </p:txBody>
      </p:sp>
      <p:sp>
        <p:nvSpPr>
          <p:cNvPr id="7186" name="TextBox 44">
            <a:extLst>
              <a:ext uri="{FF2B5EF4-FFF2-40B4-BE49-F238E27FC236}">
                <a16:creationId xmlns:a16="http://schemas.microsoft.com/office/drawing/2014/main" id="{64024A63-04C0-4A6D-ACE3-49B17EB3E3CE}"/>
              </a:ext>
            </a:extLst>
          </p:cNvPr>
          <p:cNvSpPr txBox="1">
            <a:spLocks noChangeArrowheads="1"/>
          </p:cNvSpPr>
          <p:nvPr/>
        </p:nvSpPr>
        <p:spPr bwMode="auto">
          <a:xfrm>
            <a:off x="1809750" y="714376"/>
            <a:ext cx="1500188"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2400">
                <a:solidFill>
                  <a:srgbClr val="0000FF"/>
                </a:solidFill>
                <a:latin typeface="Tahoma" panose="020B0604030504040204" pitchFamily="34" charset="0"/>
              </a:defRPr>
            </a:lvl1pPr>
            <a:lvl2pPr marL="742950" indent="-285750">
              <a:defRPr sz="2400">
                <a:solidFill>
                  <a:srgbClr val="0000FF"/>
                </a:solidFill>
                <a:latin typeface="Tahoma" panose="020B0604030504040204" pitchFamily="34" charset="0"/>
              </a:defRPr>
            </a:lvl2pPr>
            <a:lvl3pPr marL="1143000" indent="-228600">
              <a:defRPr sz="2400">
                <a:solidFill>
                  <a:srgbClr val="0000FF"/>
                </a:solidFill>
                <a:latin typeface="Tahoma" panose="020B0604030504040204" pitchFamily="34" charset="0"/>
              </a:defRPr>
            </a:lvl3pPr>
            <a:lvl4pPr marL="1600200" indent="-228600">
              <a:defRPr sz="2400">
                <a:solidFill>
                  <a:srgbClr val="0000FF"/>
                </a:solidFill>
                <a:latin typeface="Tahoma" panose="020B0604030504040204" pitchFamily="34" charset="0"/>
              </a:defRPr>
            </a:lvl4pPr>
            <a:lvl5pPr marL="2057400" indent="-228600">
              <a:defRPr sz="2400">
                <a:solidFill>
                  <a:srgbClr val="0000FF"/>
                </a:solidFill>
                <a:latin typeface="Tahoma" panose="020B0604030504040204" pitchFamily="34" charset="0"/>
              </a:defRPr>
            </a:lvl5pPr>
            <a:lvl6pPr marL="2514600" indent="-228600" algn="ctr" eaLnBrk="0" fontAlgn="base" hangingPunct="0">
              <a:spcBef>
                <a:spcPct val="0"/>
              </a:spcBef>
              <a:spcAft>
                <a:spcPct val="0"/>
              </a:spcAft>
              <a:defRPr sz="2400">
                <a:solidFill>
                  <a:srgbClr val="0000FF"/>
                </a:solidFill>
                <a:latin typeface="Tahoma" panose="020B0604030504040204" pitchFamily="34" charset="0"/>
              </a:defRPr>
            </a:lvl6pPr>
            <a:lvl7pPr marL="2971800" indent="-228600" algn="ctr" eaLnBrk="0" fontAlgn="base" hangingPunct="0">
              <a:spcBef>
                <a:spcPct val="0"/>
              </a:spcBef>
              <a:spcAft>
                <a:spcPct val="0"/>
              </a:spcAft>
              <a:defRPr sz="2400">
                <a:solidFill>
                  <a:srgbClr val="0000FF"/>
                </a:solidFill>
                <a:latin typeface="Tahoma" panose="020B0604030504040204" pitchFamily="34" charset="0"/>
              </a:defRPr>
            </a:lvl7pPr>
            <a:lvl8pPr marL="3429000" indent="-228600" algn="ctr" eaLnBrk="0" fontAlgn="base" hangingPunct="0">
              <a:spcBef>
                <a:spcPct val="0"/>
              </a:spcBef>
              <a:spcAft>
                <a:spcPct val="0"/>
              </a:spcAft>
              <a:defRPr sz="2400">
                <a:solidFill>
                  <a:srgbClr val="0000FF"/>
                </a:solidFill>
                <a:latin typeface="Tahoma" panose="020B0604030504040204" pitchFamily="34" charset="0"/>
              </a:defRPr>
            </a:lvl8pPr>
            <a:lvl9pPr marL="3886200" indent="-228600" algn="ctr" eaLnBrk="0" fontAlgn="base" hangingPunct="0">
              <a:spcBef>
                <a:spcPct val="0"/>
              </a:spcBef>
              <a:spcAft>
                <a:spcPct val="0"/>
              </a:spcAft>
              <a:defRPr sz="2400">
                <a:solidFill>
                  <a:srgbClr val="0000FF"/>
                </a:solidFill>
                <a:latin typeface="Tahoma" panose="020B0604030504040204" pitchFamily="34" charset="0"/>
              </a:defRPr>
            </a:lvl9pPr>
          </a:lstStyle>
          <a:p>
            <a:r>
              <a:rPr lang="en-GB" altLang="en-US" sz="1400" dirty="0"/>
              <a:t>KPI’s</a:t>
            </a:r>
          </a:p>
        </p:txBody>
      </p:sp>
      <p:sp>
        <p:nvSpPr>
          <p:cNvPr id="7187" name="TextBox 44">
            <a:extLst>
              <a:ext uri="{FF2B5EF4-FFF2-40B4-BE49-F238E27FC236}">
                <a16:creationId xmlns:a16="http://schemas.microsoft.com/office/drawing/2014/main" id="{DB3E629A-F984-4556-AAF9-7C44924E6AF3}"/>
              </a:ext>
            </a:extLst>
          </p:cNvPr>
          <p:cNvSpPr txBox="1">
            <a:spLocks noChangeArrowheads="1"/>
          </p:cNvSpPr>
          <p:nvPr/>
        </p:nvSpPr>
        <p:spPr bwMode="auto">
          <a:xfrm>
            <a:off x="5182636" y="5477862"/>
            <a:ext cx="1500187" cy="523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2400">
                <a:solidFill>
                  <a:srgbClr val="0000FF"/>
                </a:solidFill>
                <a:latin typeface="Tahoma" panose="020B0604030504040204" pitchFamily="34" charset="0"/>
              </a:defRPr>
            </a:lvl1pPr>
            <a:lvl2pPr marL="742950" indent="-285750">
              <a:defRPr sz="2400">
                <a:solidFill>
                  <a:srgbClr val="0000FF"/>
                </a:solidFill>
                <a:latin typeface="Tahoma" panose="020B0604030504040204" pitchFamily="34" charset="0"/>
              </a:defRPr>
            </a:lvl2pPr>
            <a:lvl3pPr marL="1143000" indent="-228600">
              <a:defRPr sz="2400">
                <a:solidFill>
                  <a:srgbClr val="0000FF"/>
                </a:solidFill>
                <a:latin typeface="Tahoma" panose="020B0604030504040204" pitchFamily="34" charset="0"/>
              </a:defRPr>
            </a:lvl3pPr>
            <a:lvl4pPr marL="1600200" indent="-228600">
              <a:defRPr sz="2400">
                <a:solidFill>
                  <a:srgbClr val="0000FF"/>
                </a:solidFill>
                <a:latin typeface="Tahoma" panose="020B0604030504040204" pitchFamily="34" charset="0"/>
              </a:defRPr>
            </a:lvl4pPr>
            <a:lvl5pPr marL="2057400" indent="-228600">
              <a:defRPr sz="2400">
                <a:solidFill>
                  <a:srgbClr val="0000FF"/>
                </a:solidFill>
                <a:latin typeface="Tahoma" panose="020B0604030504040204" pitchFamily="34" charset="0"/>
              </a:defRPr>
            </a:lvl5pPr>
            <a:lvl6pPr marL="2514600" indent="-228600" algn="ctr" eaLnBrk="0" fontAlgn="base" hangingPunct="0">
              <a:spcBef>
                <a:spcPct val="0"/>
              </a:spcBef>
              <a:spcAft>
                <a:spcPct val="0"/>
              </a:spcAft>
              <a:defRPr sz="2400">
                <a:solidFill>
                  <a:srgbClr val="0000FF"/>
                </a:solidFill>
                <a:latin typeface="Tahoma" panose="020B0604030504040204" pitchFamily="34" charset="0"/>
              </a:defRPr>
            </a:lvl6pPr>
            <a:lvl7pPr marL="2971800" indent="-228600" algn="ctr" eaLnBrk="0" fontAlgn="base" hangingPunct="0">
              <a:spcBef>
                <a:spcPct val="0"/>
              </a:spcBef>
              <a:spcAft>
                <a:spcPct val="0"/>
              </a:spcAft>
              <a:defRPr sz="2400">
                <a:solidFill>
                  <a:srgbClr val="0000FF"/>
                </a:solidFill>
                <a:latin typeface="Tahoma" panose="020B0604030504040204" pitchFamily="34" charset="0"/>
              </a:defRPr>
            </a:lvl7pPr>
            <a:lvl8pPr marL="3429000" indent="-228600" algn="ctr" eaLnBrk="0" fontAlgn="base" hangingPunct="0">
              <a:spcBef>
                <a:spcPct val="0"/>
              </a:spcBef>
              <a:spcAft>
                <a:spcPct val="0"/>
              </a:spcAft>
              <a:defRPr sz="2400">
                <a:solidFill>
                  <a:srgbClr val="0000FF"/>
                </a:solidFill>
                <a:latin typeface="Tahoma" panose="020B0604030504040204" pitchFamily="34" charset="0"/>
              </a:defRPr>
            </a:lvl8pPr>
            <a:lvl9pPr marL="3886200" indent="-228600" algn="ctr" eaLnBrk="0" fontAlgn="base" hangingPunct="0">
              <a:spcBef>
                <a:spcPct val="0"/>
              </a:spcBef>
              <a:spcAft>
                <a:spcPct val="0"/>
              </a:spcAft>
              <a:defRPr sz="2400">
                <a:solidFill>
                  <a:srgbClr val="0000FF"/>
                </a:solidFill>
                <a:latin typeface="Tahoma" panose="020B0604030504040204" pitchFamily="34" charset="0"/>
              </a:defRPr>
            </a:lvl9pPr>
          </a:lstStyle>
          <a:p>
            <a:r>
              <a:rPr lang="en-GB" altLang="en-US" sz="1400" dirty="0"/>
              <a:t>Organisational Capability</a:t>
            </a:r>
          </a:p>
        </p:txBody>
      </p:sp>
      <p:sp>
        <p:nvSpPr>
          <p:cNvPr id="7188" name="TextBox 44">
            <a:extLst>
              <a:ext uri="{FF2B5EF4-FFF2-40B4-BE49-F238E27FC236}">
                <a16:creationId xmlns:a16="http://schemas.microsoft.com/office/drawing/2014/main" id="{B999D950-D270-451C-914B-A18DBA89F9E0}"/>
              </a:ext>
            </a:extLst>
          </p:cNvPr>
          <p:cNvSpPr txBox="1">
            <a:spLocks noChangeArrowheads="1"/>
          </p:cNvSpPr>
          <p:nvPr/>
        </p:nvSpPr>
        <p:spPr bwMode="auto">
          <a:xfrm>
            <a:off x="3157578" y="870618"/>
            <a:ext cx="1833482"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2400">
                <a:solidFill>
                  <a:srgbClr val="0000FF"/>
                </a:solidFill>
                <a:latin typeface="Tahoma" panose="020B0604030504040204" pitchFamily="34" charset="0"/>
              </a:defRPr>
            </a:lvl1pPr>
            <a:lvl2pPr marL="742950" indent="-285750">
              <a:defRPr sz="2400">
                <a:solidFill>
                  <a:srgbClr val="0000FF"/>
                </a:solidFill>
                <a:latin typeface="Tahoma" panose="020B0604030504040204" pitchFamily="34" charset="0"/>
              </a:defRPr>
            </a:lvl2pPr>
            <a:lvl3pPr marL="1143000" indent="-228600">
              <a:defRPr sz="2400">
                <a:solidFill>
                  <a:srgbClr val="0000FF"/>
                </a:solidFill>
                <a:latin typeface="Tahoma" panose="020B0604030504040204" pitchFamily="34" charset="0"/>
              </a:defRPr>
            </a:lvl3pPr>
            <a:lvl4pPr marL="1600200" indent="-228600">
              <a:defRPr sz="2400">
                <a:solidFill>
                  <a:srgbClr val="0000FF"/>
                </a:solidFill>
                <a:latin typeface="Tahoma" panose="020B0604030504040204" pitchFamily="34" charset="0"/>
              </a:defRPr>
            </a:lvl4pPr>
            <a:lvl5pPr marL="2057400" indent="-228600">
              <a:defRPr sz="2400">
                <a:solidFill>
                  <a:srgbClr val="0000FF"/>
                </a:solidFill>
                <a:latin typeface="Tahoma" panose="020B0604030504040204" pitchFamily="34" charset="0"/>
              </a:defRPr>
            </a:lvl5pPr>
            <a:lvl6pPr marL="2514600" indent="-228600" algn="ctr" eaLnBrk="0" fontAlgn="base" hangingPunct="0">
              <a:spcBef>
                <a:spcPct val="0"/>
              </a:spcBef>
              <a:spcAft>
                <a:spcPct val="0"/>
              </a:spcAft>
              <a:defRPr sz="2400">
                <a:solidFill>
                  <a:srgbClr val="0000FF"/>
                </a:solidFill>
                <a:latin typeface="Tahoma" panose="020B0604030504040204" pitchFamily="34" charset="0"/>
              </a:defRPr>
            </a:lvl6pPr>
            <a:lvl7pPr marL="2971800" indent="-228600" algn="ctr" eaLnBrk="0" fontAlgn="base" hangingPunct="0">
              <a:spcBef>
                <a:spcPct val="0"/>
              </a:spcBef>
              <a:spcAft>
                <a:spcPct val="0"/>
              </a:spcAft>
              <a:defRPr sz="2400">
                <a:solidFill>
                  <a:srgbClr val="0000FF"/>
                </a:solidFill>
                <a:latin typeface="Tahoma" panose="020B0604030504040204" pitchFamily="34" charset="0"/>
              </a:defRPr>
            </a:lvl7pPr>
            <a:lvl8pPr marL="3429000" indent="-228600" algn="ctr" eaLnBrk="0" fontAlgn="base" hangingPunct="0">
              <a:spcBef>
                <a:spcPct val="0"/>
              </a:spcBef>
              <a:spcAft>
                <a:spcPct val="0"/>
              </a:spcAft>
              <a:defRPr sz="2400">
                <a:solidFill>
                  <a:srgbClr val="0000FF"/>
                </a:solidFill>
                <a:latin typeface="Tahoma" panose="020B0604030504040204" pitchFamily="34" charset="0"/>
              </a:defRPr>
            </a:lvl8pPr>
            <a:lvl9pPr marL="3886200" indent="-228600" algn="ctr" eaLnBrk="0" fontAlgn="base" hangingPunct="0">
              <a:spcBef>
                <a:spcPct val="0"/>
              </a:spcBef>
              <a:spcAft>
                <a:spcPct val="0"/>
              </a:spcAft>
              <a:defRPr sz="2400">
                <a:solidFill>
                  <a:srgbClr val="0000FF"/>
                </a:solidFill>
                <a:latin typeface="Tahoma" panose="020B0604030504040204" pitchFamily="34" charset="0"/>
              </a:defRPr>
            </a:lvl9pPr>
          </a:lstStyle>
          <a:p>
            <a:r>
              <a:rPr lang="en-GB" altLang="en-US" sz="1400" dirty="0"/>
              <a:t>Safety Management System</a:t>
            </a:r>
          </a:p>
        </p:txBody>
      </p:sp>
      <p:sp>
        <p:nvSpPr>
          <p:cNvPr id="7189" name="TextBox 44">
            <a:extLst>
              <a:ext uri="{FF2B5EF4-FFF2-40B4-BE49-F238E27FC236}">
                <a16:creationId xmlns:a16="http://schemas.microsoft.com/office/drawing/2014/main" id="{DE340F6F-2E45-4305-9951-ABD25FA42B8B}"/>
              </a:ext>
            </a:extLst>
          </p:cNvPr>
          <p:cNvSpPr txBox="1">
            <a:spLocks noChangeArrowheads="1"/>
          </p:cNvSpPr>
          <p:nvPr/>
        </p:nvSpPr>
        <p:spPr bwMode="auto">
          <a:xfrm>
            <a:off x="2660647" y="2846388"/>
            <a:ext cx="1500188"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2400">
                <a:solidFill>
                  <a:srgbClr val="0000FF"/>
                </a:solidFill>
                <a:latin typeface="Tahoma" panose="020B0604030504040204" pitchFamily="34" charset="0"/>
              </a:defRPr>
            </a:lvl1pPr>
            <a:lvl2pPr marL="742950" indent="-285750">
              <a:defRPr sz="2400">
                <a:solidFill>
                  <a:srgbClr val="0000FF"/>
                </a:solidFill>
                <a:latin typeface="Tahoma" panose="020B0604030504040204" pitchFamily="34" charset="0"/>
              </a:defRPr>
            </a:lvl2pPr>
            <a:lvl3pPr marL="1143000" indent="-228600">
              <a:defRPr sz="2400">
                <a:solidFill>
                  <a:srgbClr val="0000FF"/>
                </a:solidFill>
                <a:latin typeface="Tahoma" panose="020B0604030504040204" pitchFamily="34" charset="0"/>
              </a:defRPr>
            </a:lvl3pPr>
            <a:lvl4pPr marL="1600200" indent="-228600">
              <a:defRPr sz="2400">
                <a:solidFill>
                  <a:srgbClr val="0000FF"/>
                </a:solidFill>
                <a:latin typeface="Tahoma" panose="020B0604030504040204" pitchFamily="34" charset="0"/>
              </a:defRPr>
            </a:lvl4pPr>
            <a:lvl5pPr marL="2057400" indent="-228600">
              <a:defRPr sz="2400">
                <a:solidFill>
                  <a:srgbClr val="0000FF"/>
                </a:solidFill>
                <a:latin typeface="Tahoma" panose="020B0604030504040204" pitchFamily="34" charset="0"/>
              </a:defRPr>
            </a:lvl5pPr>
            <a:lvl6pPr marL="2514600" indent="-228600" algn="ctr" eaLnBrk="0" fontAlgn="base" hangingPunct="0">
              <a:spcBef>
                <a:spcPct val="0"/>
              </a:spcBef>
              <a:spcAft>
                <a:spcPct val="0"/>
              </a:spcAft>
              <a:defRPr sz="2400">
                <a:solidFill>
                  <a:srgbClr val="0000FF"/>
                </a:solidFill>
                <a:latin typeface="Tahoma" panose="020B0604030504040204" pitchFamily="34" charset="0"/>
              </a:defRPr>
            </a:lvl6pPr>
            <a:lvl7pPr marL="2971800" indent="-228600" algn="ctr" eaLnBrk="0" fontAlgn="base" hangingPunct="0">
              <a:spcBef>
                <a:spcPct val="0"/>
              </a:spcBef>
              <a:spcAft>
                <a:spcPct val="0"/>
              </a:spcAft>
              <a:defRPr sz="2400">
                <a:solidFill>
                  <a:srgbClr val="0000FF"/>
                </a:solidFill>
                <a:latin typeface="Tahoma" panose="020B0604030504040204" pitchFamily="34" charset="0"/>
              </a:defRPr>
            </a:lvl7pPr>
            <a:lvl8pPr marL="3429000" indent="-228600" algn="ctr" eaLnBrk="0" fontAlgn="base" hangingPunct="0">
              <a:spcBef>
                <a:spcPct val="0"/>
              </a:spcBef>
              <a:spcAft>
                <a:spcPct val="0"/>
              </a:spcAft>
              <a:defRPr sz="2400">
                <a:solidFill>
                  <a:srgbClr val="0000FF"/>
                </a:solidFill>
                <a:latin typeface="Tahoma" panose="020B0604030504040204" pitchFamily="34" charset="0"/>
              </a:defRPr>
            </a:lvl8pPr>
            <a:lvl9pPr marL="3886200" indent="-228600" algn="ctr" eaLnBrk="0" fontAlgn="base" hangingPunct="0">
              <a:spcBef>
                <a:spcPct val="0"/>
              </a:spcBef>
              <a:spcAft>
                <a:spcPct val="0"/>
              </a:spcAft>
              <a:defRPr sz="2400">
                <a:solidFill>
                  <a:srgbClr val="0000FF"/>
                </a:solidFill>
                <a:latin typeface="Tahoma" panose="020B0604030504040204" pitchFamily="34" charset="0"/>
              </a:defRPr>
            </a:lvl9pPr>
          </a:lstStyle>
          <a:p>
            <a:r>
              <a:rPr lang="en-GB" altLang="en-US" sz="1400" dirty="0"/>
              <a:t>Regulator</a:t>
            </a:r>
          </a:p>
        </p:txBody>
      </p:sp>
      <p:sp>
        <p:nvSpPr>
          <p:cNvPr id="34" name="Oval 33">
            <a:extLst>
              <a:ext uri="{FF2B5EF4-FFF2-40B4-BE49-F238E27FC236}">
                <a16:creationId xmlns:a16="http://schemas.microsoft.com/office/drawing/2014/main" id="{56FAA9F6-F5E2-433D-A341-4FFA89D5B3A2}"/>
              </a:ext>
            </a:extLst>
          </p:cNvPr>
          <p:cNvSpPr/>
          <p:nvPr/>
        </p:nvSpPr>
        <p:spPr>
          <a:xfrm>
            <a:off x="8239126" y="928689"/>
            <a:ext cx="1928813" cy="1285875"/>
          </a:xfrm>
          <a:prstGeom prst="ellipse">
            <a:avLst/>
          </a:prstGeom>
          <a:solidFill>
            <a:schemeClr val="tx2">
              <a:lumMod val="25000"/>
              <a:lumOff val="75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endParaRPr lang="en-GB" dirty="0"/>
          </a:p>
        </p:txBody>
      </p:sp>
      <p:sp>
        <p:nvSpPr>
          <p:cNvPr id="37" name="Oval 36">
            <a:extLst>
              <a:ext uri="{FF2B5EF4-FFF2-40B4-BE49-F238E27FC236}">
                <a16:creationId xmlns:a16="http://schemas.microsoft.com/office/drawing/2014/main" id="{4B413A26-4492-4DB2-8775-47516C2CA37E}"/>
              </a:ext>
            </a:extLst>
          </p:cNvPr>
          <p:cNvSpPr/>
          <p:nvPr/>
        </p:nvSpPr>
        <p:spPr>
          <a:xfrm>
            <a:off x="5738813" y="1071564"/>
            <a:ext cx="1928812" cy="1285875"/>
          </a:xfrm>
          <a:prstGeom prst="ellipse">
            <a:avLst/>
          </a:prstGeom>
          <a:solidFill>
            <a:schemeClr val="tx2">
              <a:lumMod val="25000"/>
              <a:lumOff val="75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endParaRPr lang="en-GB" dirty="0"/>
          </a:p>
        </p:txBody>
      </p:sp>
      <p:sp>
        <p:nvSpPr>
          <p:cNvPr id="7192" name="TextBox 44">
            <a:extLst>
              <a:ext uri="{FF2B5EF4-FFF2-40B4-BE49-F238E27FC236}">
                <a16:creationId xmlns:a16="http://schemas.microsoft.com/office/drawing/2014/main" id="{665D93CE-1015-4F0E-AF7F-B0BAF00048DC}"/>
              </a:ext>
            </a:extLst>
          </p:cNvPr>
          <p:cNvSpPr txBox="1">
            <a:spLocks noChangeArrowheads="1"/>
          </p:cNvSpPr>
          <p:nvPr/>
        </p:nvSpPr>
        <p:spPr bwMode="auto">
          <a:xfrm>
            <a:off x="1524000" y="5715001"/>
            <a:ext cx="1500188"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2400">
                <a:solidFill>
                  <a:srgbClr val="0000FF"/>
                </a:solidFill>
                <a:latin typeface="Tahoma" panose="020B0604030504040204" pitchFamily="34" charset="0"/>
              </a:defRPr>
            </a:lvl1pPr>
            <a:lvl2pPr marL="742950" indent="-285750">
              <a:defRPr sz="2400">
                <a:solidFill>
                  <a:srgbClr val="0000FF"/>
                </a:solidFill>
                <a:latin typeface="Tahoma" panose="020B0604030504040204" pitchFamily="34" charset="0"/>
              </a:defRPr>
            </a:lvl2pPr>
            <a:lvl3pPr marL="1143000" indent="-228600">
              <a:defRPr sz="2400">
                <a:solidFill>
                  <a:srgbClr val="0000FF"/>
                </a:solidFill>
                <a:latin typeface="Tahoma" panose="020B0604030504040204" pitchFamily="34" charset="0"/>
              </a:defRPr>
            </a:lvl3pPr>
            <a:lvl4pPr marL="1600200" indent="-228600">
              <a:defRPr sz="2400">
                <a:solidFill>
                  <a:srgbClr val="0000FF"/>
                </a:solidFill>
                <a:latin typeface="Tahoma" panose="020B0604030504040204" pitchFamily="34" charset="0"/>
              </a:defRPr>
            </a:lvl4pPr>
            <a:lvl5pPr marL="2057400" indent="-228600">
              <a:defRPr sz="2400">
                <a:solidFill>
                  <a:srgbClr val="0000FF"/>
                </a:solidFill>
                <a:latin typeface="Tahoma" panose="020B0604030504040204" pitchFamily="34" charset="0"/>
              </a:defRPr>
            </a:lvl5pPr>
            <a:lvl6pPr marL="2514600" indent="-228600" algn="ctr" eaLnBrk="0" fontAlgn="base" hangingPunct="0">
              <a:spcBef>
                <a:spcPct val="0"/>
              </a:spcBef>
              <a:spcAft>
                <a:spcPct val="0"/>
              </a:spcAft>
              <a:defRPr sz="2400">
                <a:solidFill>
                  <a:srgbClr val="0000FF"/>
                </a:solidFill>
                <a:latin typeface="Tahoma" panose="020B0604030504040204" pitchFamily="34" charset="0"/>
              </a:defRPr>
            </a:lvl6pPr>
            <a:lvl7pPr marL="2971800" indent="-228600" algn="ctr" eaLnBrk="0" fontAlgn="base" hangingPunct="0">
              <a:spcBef>
                <a:spcPct val="0"/>
              </a:spcBef>
              <a:spcAft>
                <a:spcPct val="0"/>
              </a:spcAft>
              <a:defRPr sz="2400">
                <a:solidFill>
                  <a:srgbClr val="0000FF"/>
                </a:solidFill>
                <a:latin typeface="Tahoma" panose="020B0604030504040204" pitchFamily="34" charset="0"/>
              </a:defRPr>
            </a:lvl7pPr>
            <a:lvl8pPr marL="3429000" indent="-228600" algn="ctr" eaLnBrk="0" fontAlgn="base" hangingPunct="0">
              <a:spcBef>
                <a:spcPct val="0"/>
              </a:spcBef>
              <a:spcAft>
                <a:spcPct val="0"/>
              </a:spcAft>
              <a:defRPr sz="2400">
                <a:solidFill>
                  <a:srgbClr val="0000FF"/>
                </a:solidFill>
                <a:latin typeface="Tahoma" panose="020B0604030504040204" pitchFamily="34" charset="0"/>
              </a:defRPr>
            </a:lvl8pPr>
            <a:lvl9pPr marL="3886200" indent="-228600" algn="ctr" eaLnBrk="0" fontAlgn="base" hangingPunct="0">
              <a:spcBef>
                <a:spcPct val="0"/>
              </a:spcBef>
              <a:spcAft>
                <a:spcPct val="0"/>
              </a:spcAft>
              <a:defRPr sz="2400">
                <a:solidFill>
                  <a:srgbClr val="0000FF"/>
                </a:solidFill>
                <a:latin typeface="Tahoma" panose="020B0604030504040204" pitchFamily="34" charset="0"/>
              </a:defRPr>
            </a:lvl9pPr>
          </a:lstStyle>
          <a:p>
            <a:r>
              <a:rPr lang="en-GB" altLang="en-US" sz="1400" dirty="0"/>
              <a:t>Procurement</a:t>
            </a:r>
          </a:p>
        </p:txBody>
      </p:sp>
      <p:sp>
        <p:nvSpPr>
          <p:cNvPr id="7193" name="TextBox 44">
            <a:extLst>
              <a:ext uri="{FF2B5EF4-FFF2-40B4-BE49-F238E27FC236}">
                <a16:creationId xmlns:a16="http://schemas.microsoft.com/office/drawing/2014/main" id="{DD65CE53-6333-4331-8B58-F7F6D8492632}"/>
              </a:ext>
            </a:extLst>
          </p:cNvPr>
          <p:cNvSpPr txBox="1">
            <a:spLocks noChangeArrowheads="1"/>
          </p:cNvSpPr>
          <p:nvPr/>
        </p:nvSpPr>
        <p:spPr bwMode="auto">
          <a:xfrm>
            <a:off x="8560594" y="1190626"/>
            <a:ext cx="1500187" cy="7386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2400">
                <a:solidFill>
                  <a:srgbClr val="0000FF"/>
                </a:solidFill>
                <a:latin typeface="Tahoma" panose="020B0604030504040204" pitchFamily="34" charset="0"/>
              </a:defRPr>
            </a:lvl1pPr>
            <a:lvl2pPr marL="742950" indent="-285750">
              <a:defRPr sz="2400">
                <a:solidFill>
                  <a:srgbClr val="0000FF"/>
                </a:solidFill>
                <a:latin typeface="Tahoma" panose="020B0604030504040204" pitchFamily="34" charset="0"/>
              </a:defRPr>
            </a:lvl2pPr>
            <a:lvl3pPr marL="1143000" indent="-228600">
              <a:defRPr sz="2400">
                <a:solidFill>
                  <a:srgbClr val="0000FF"/>
                </a:solidFill>
                <a:latin typeface="Tahoma" panose="020B0604030504040204" pitchFamily="34" charset="0"/>
              </a:defRPr>
            </a:lvl3pPr>
            <a:lvl4pPr marL="1600200" indent="-228600">
              <a:defRPr sz="2400">
                <a:solidFill>
                  <a:srgbClr val="0000FF"/>
                </a:solidFill>
                <a:latin typeface="Tahoma" panose="020B0604030504040204" pitchFamily="34" charset="0"/>
              </a:defRPr>
            </a:lvl4pPr>
            <a:lvl5pPr marL="2057400" indent="-228600">
              <a:defRPr sz="2400">
                <a:solidFill>
                  <a:srgbClr val="0000FF"/>
                </a:solidFill>
                <a:latin typeface="Tahoma" panose="020B0604030504040204" pitchFamily="34" charset="0"/>
              </a:defRPr>
            </a:lvl5pPr>
            <a:lvl6pPr marL="2514600" indent="-228600" algn="ctr" eaLnBrk="0" fontAlgn="base" hangingPunct="0">
              <a:spcBef>
                <a:spcPct val="0"/>
              </a:spcBef>
              <a:spcAft>
                <a:spcPct val="0"/>
              </a:spcAft>
              <a:defRPr sz="2400">
                <a:solidFill>
                  <a:srgbClr val="0000FF"/>
                </a:solidFill>
                <a:latin typeface="Tahoma" panose="020B0604030504040204" pitchFamily="34" charset="0"/>
              </a:defRPr>
            </a:lvl6pPr>
            <a:lvl7pPr marL="2971800" indent="-228600" algn="ctr" eaLnBrk="0" fontAlgn="base" hangingPunct="0">
              <a:spcBef>
                <a:spcPct val="0"/>
              </a:spcBef>
              <a:spcAft>
                <a:spcPct val="0"/>
              </a:spcAft>
              <a:defRPr sz="2400">
                <a:solidFill>
                  <a:srgbClr val="0000FF"/>
                </a:solidFill>
                <a:latin typeface="Tahoma" panose="020B0604030504040204" pitchFamily="34" charset="0"/>
              </a:defRPr>
            </a:lvl7pPr>
            <a:lvl8pPr marL="3429000" indent="-228600" algn="ctr" eaLnBrk="0" fontAlgn="base" hangingPunct="0">
              <a:spcBef>
                <a:spcPct val="0"/>
              </a:spcBef>
              <a:spcAft>
                <a:spcPct val="0"/>
              </a:spcAft>
              <a:defRPr sz="2400">
                <a:solidFill>
                  <a:srgbClr val="0000FF"/>
                </a:solidFill>
                <a:latin typeface="Tahoma" panose="020B0604030504040204" pitchFamily="34" charset="0"/>
              </a:defRPr>
            </a:lvl8pPr>
            <a:lvl9pPr marL="3886200" indent="-228600" algn="ctr" eaLnBrk="0" fontAlgn="base" hangingPunct="0">
              <a:spcBef>
                <a:spcPct val="0"/>
              </a:spcBef>
              <a:spcAft>
                <a:spcPct val="0"/>
              </a:spcAft>
              <a:defRPr sz="2400">
                <a:solidFill>
                  <a:srgbClr val="0000FF"/>
                </a:solidFill>
                <a:latin typeface="Tahoma" panose="020B0604030504040204" pitchFamily="34" charset="0"/>
              </a:defRPr>
            </a:lvl9pPr>
          </a:lstStyle>
          <a:p>
            <a:r>
              <a:rPr lang="en-GB" altLang="en-US" sz="1400" dirty="0"/>
              <a:t>Maintenance  Operations &amp; Projects</a:t>
            </a:r>
          </a:p>
        </p:txBody>
      </p:sp>
      <p:sp>
        <p:nvSpPr>
          <p:cNvPr id="7194" name="TextBox 44">
            <a:extLst>
              <a:ext uri="{FF2B5EF4-FFF2-40B4-BE49-F238E27FC236}">
                <a16:creationId xmlns:a16="http://schemas.microsoft.com/office/drawing/2014/main" id="{BB0D77B3-7341-43E0-B0EC-9109B78402B5}"/>
              </a:ext>
            </a:extLst>
          </p:cNvPr>
          <p:cNvSpPr txBox="1">
            <a:spLocks noChangeArrowheads="1"/>
          </p:cNvSpPr>
          <p:nvPr/>
        </p:nvSpPr>
        <p:spPr bwMode="auto">
          <a:xfrm>
            <a:off x="5988845" y="1560513"/>
            <a:ext cx="1500188"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2400">
                <a:solidFill>
                  <a:srgbClr val="0000FF"/>
                </a:solidFill>
                <a:latin typeface="Tahoma" panose="020B0604030504040204" pitchFamily="34" charset="0"/>
              </a:defRPr>
            </a:lvl1pPr>
            <a:lvl2pPr marL="742950" indent="-285750">
              <a:defRPr sz="2400">
                <a:solidFill>
                  <a:srgbClr val="0000FF"/>
                </a:solidFill>
                <a:latin typeface="Tahoma" panose="020B0604030504040204" pitchFamily="34" charset="0"/>
              </a:defRPr>
            </a:lvl2pPr>
            <a:lvl3pPr marL="1143000" indent="-228600">
              <a:defRPr sz="2400">
                <a:solidFill>
                  <a:srgbClr val="0000FF"/>
                </a:solidFill>
                <a:latin typeface="Tahoma" panose="020B0604030504040204" pitchFamily="34" charset="0"/>
              </a:defRPr>
            </a:lvl3pPr>
            <a:lvl4pPr marL="1600200" indent="-228600">
              <a:defRPr sz="2400">
                <a:solidFill>
                  <a:srgbClr val="0000FF"/>
                </a:solidFill>
                <a:latin typeface="Tahoma" panose="020B0604030504040204" pitchFamily="34" charset="0"/>
              </a:defRPr>
            </a:lvl4pPr>
            <a:lvl5pPr marL="2057400" indent="-228600">
              <a:defRPr sz="2400">
                <a:solidFill>
                  <a:srgbClr val="0000FF"/>
                </a:solidFill>
                <a:latin typeface="Tahoma" panose="020B0604030504040204" pitchFamily="34" charset="0"/>
              </a:defRPr>
            </a:lvl5pPr>
            <a:lvl6pPr marL="2514600" indent="-228600" algn="ctr" eaLnBrk="0" fontAlgn="base" hangingPunct="0">
              <a:spcBef>
                <a:spcPct val="0"/>
              </a:spcBef>
              <a:spcAft>
                <a:spcPct val="0"/>
              </a:spcAft>
              <a:defRPr sz="2400">
                <a:solidFill>
                  <a:srgbClr val="0000FF"/>
                </a:solidFill>
                <a:latin typeface="Tahoma" panose="020B0604030504040204" pitchFamily="34" charset="0"/>
              </a:defRPr>
            </a:lvl6pPr>
            <a:lvl7pPr marL="2971800" indent="-228600" algn="ctr" eaLnBrk="0" fontAlgn="base" hangingPunct="0">
              <a:spcBef>
                <a:spcPct val="0"/>
              </a:spcBef>
              <a:spcAft>
                <a:spcPct val="0"/>
              </a:spcAft>
              <a:defRPr sz="2400">
                <a:solidFill>
                  <a:srgbClr val="0000FF"/>
                </a:solidFill>
                <a:latin typeface="Tahoma" panose="020B0604030504040204" pitchFamily="34" charset="0"/>
              </a:defRPr>
            </a:lvl7pPr>
            <a:lvl8pPr marL="3429000" indent="-228600" algn="ctr" eaLnBrk="0" fontAlgn="base" hangingPunct="0">
              <a:spcBef>
                <a:spcPct val="0"/>
              </a:spcBef>
              <a:spcAft>
                <a:spcPct val="0"/>
              </a:spcAft>
              <a:defRPr sz="2400">
                <a:solidFill>
                  <a:srgbClr val="0000FF"/>
                </a:solidFill>
                <a:latin typeface="Tahoma" panose="020B0604030504040204" pitchFamily="34" charset="0"/>
              </a:defRPr>
            </a:lvl8pPr>
            <a:lvl9pPr marL="3886200" indent="-228600" algn="ctr" eaLnBrk="0" fontAlgn="base" hangingPunct="0">
              <a:spcBef>
                <a:spcPct val="0"/>
              </a:spcBef>
              <a:spcAft>
                <a:spcPct val="0"/>
              </a:spcAft>
              <a:defRPr sz="2400">
                <a:solidFill>
                  <a:srgbClr val="0000FF"/>
                </a:solidFill>
                <a:latin typeface="Tahoma" panose="020B0604030504040204" pitchFamily="34" charset="0"/>
              </a:defRPr>
            </a:lvl9pPr>
          </a:lstStyle>
          <a:p>
            <a:r>
              <a:rPr lang="en-GB" altLang="en-US" sz="1400" dirty="0"/>
              <a:t>Documentation</a:t>
            </a:r>
          </a:p>
        </p:txBody>
      </p:sp>
      <p:sp>
        <p:nvSpPr>
          <p:cNvPr id="7195" name="TextBox 44">
            <a:extLst>
              <a:ext uri="{FF2B5EF4-FFF2-40B4-BE49-F238E27FC236}">
                <a16:creationId xmlns:a16="http://schemas.microsoft.com/office/drawing/2014/main" id="{1A91EC36-B8D7-4DA4-855F-C8397685DA2A}"/>
              </a:ext>
            </a:extLst>
          </p:cNvPr>
          <p:cNvSpPr txBox="1">
            <a:spLocks noChangeArrowheads="1"/>
          </p:cNvSpPr>
          <p:nvPr/>
        </p:nvSpPr>
        <p:spPr bwMode="auto">
          <a:xfrm>
            <a:off x="6524625" y="6357939"/>
            <a:ext cx="1500188"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2400">
                <a:solidFill>
                  <a:srgbClr val="0000FF"/>
                </a:solidFill>
                <a:latin typeface="Tahoma" panose="020B0604030504040204" pitchFamily="34" charset="0"/>
              </a:defRPr>
            </a:lvl1pPr>
            <a:lvl2pPr marL="742950" indent="-285750">
              <a:defRPr sz="2400">
                <a:solidFill>
                  <a:srgbClr val="0000FF"/>
                </a:solidFill>
                <a:latin typeface="Tahoma" panose="020B0604030504040204" pitchFamily="34" charset="0"/>
              </a:defRPr>
            </a:lvl2pPr>
            <a:lvl3pPr marL="1143000" indent="-228600">
              <a:defRPr sz="2400">
                <a:solidFill>
                  <a:srgbClr val="0000FF"/>
                </a:solidFill>
                <a:latin typeface="Tahoma" panose="020B0604030504040204" pitchFamily="34" charset="0"/>
              </a:defRPr>
            </a:lvl3pPr>
            <a:lvl4pPr marL="1600200" indent="-228600">
              <a:defRPr sz="2400">
                <a:solidFill>
                  <a:srgbClr val="0000FF"/>
                </a:solidFill>
                <a:latin typeface="Tahoma" panose="020B0604030504040204" pitchFamily="34" charset="0"/>
              </a:defRPr>
            </a:lvl4pPr>
            <a:lvl5pPr marL="2057400" indent="-228600">
              <a:defRPr sz="2400">
                <a:solidFill>
                  <a:srgbClr val="0000FF"/>
                </a:solidFill>
                <a:latin typeface="Tahoma" panose="020B0604030504040204" pitchFamily="34" charset="0"/>
              </a:defRPr>
            </a:lvl5pPr>
            <a:lvl6pPr marL="2514600" indent="-228600" algn="ctr" eaLnBrk="0" fontAlgn="base" hangingPunct="0">
              <a:spcBef>
                <a:spcPct val="0"/>
              </a:spcBef>
              <a:spcAft>
                <a:spcPct val="0"/>
              </a:spcAft>
              <a:defRPr sz="2400">
                <a:solidFill>
                  <a:srgbClr val="0000FF"/>
                </a:solidFill>
                <a:latin typeface="Tahoma" panose="020B0604030504040204" pitchFamily="34" charset="0"/>
              </a:defRPr>
            </a:lvl6pPr>
            <a:lvl7pPr marL="2971800" indent="-228600" algn="ctr" eaLnBrk="0" fontAlgn="base" hangingPunct="0">
              <a:spcBef>
                <a:spcPct val="0"/>
              </a:spcBef>
              <a:spcAft>
                <a:spcPct val="0"/>
              </a:spcAft>
              <a:defRPr sz="2400">
                <a:solidFill>
                  <a:srgbClr val="0000FF"/>
                </a:solidFill>
                <a:latin typeface="Tahoma" panose="020B0604030504040204" pitchFamily="34" charset="0"/>
              </a:defRPr>
            </a:lvl7pPr>
            <a:lvl8pPr marL="3429000" indent="-228600" algn="ctr" eaLnBrk="0" fontAlgn="base" hangingPunct="0">
              <a:spcBef>
                <a:spcPct val="0"/>
              </a:spcBef>
              <a:spcAft>
                <a:spcPct val="0"/>
              </a:spcAft>
              <a:defRPr sz="2400">
                <a:solidFill>
                  <a:srgbClr val="0000FF"/>
                </a:solidFill>
                <a:latin typeface="Tahoma" panose="020B0604030504040204" pitchFamily="34" charset="0"/>
              </a:defRPr>
            </a:lvl8pPr>
            <a:lvl9pPr marL="3886200" indent="-228600" algn="ctr" eaLnBrk="0" fontAlgn="base" hangingPunct="0">
              <a:spcBef>
                <a:spcPct val="0"/>
              </a:spcBef>
              <a:spcAft>
                <a:spcPct val="0"/>
              </a:spcAft>
              <a:defRPr sz="2400">
                <a:solidFill>
                  <a:srgbClr val="0000FF"/>
                </a:solidFill>
                <a:latin typeface="Tahoma" panose="020B0604030504040204" pitchFamily="34" charset="0"/>
              </a:defRPr>
            </a:lvl9pPr>
          </a:lstStyle>
          <a:p>
            <a:r>
              <a:rPr lang="en-GB" altLang="en-US" sz="1400" dirty="0"/>
              <a:t>      Training</a:t>
            </a:r>
          </a:p>
        </p:txBody>
      </p:sp>
      <p:cxnSp>
        <p:nvCxnSpPr>
          <p:cNvPr id="7196" name="Straight Arrow Connector 95">
            <a:extLst>
              <a:ext uri="{FF2B5EF4-FFF2-40B4-BE49-F238E27FC236}">
                <a16:creationId xmlns:a16="http://schemas.microsoft.com/office/drawing/2014/main" id="{BC9B555F-19EB-40AA-A641-C75295002659}"/>
              </a:ext>
            </a:extLst>
          </p:cNvPr>
          <p:cNvCxnSpPr>
            <a:cxnSpLocks noChangeShapeType="1"/>
            <a:endCxn id="34" idx="3"/>
          </p:cNvCxnSpPr>
          <p:nvPr/>
        </p:nvCxnSpPr>
        <p:spPr bwMode="auto">
          <a:xfrm flipV="1">
            <a:off x="6810376" y="2025651"/>
            <a:ext cx="1711325" cy="974725"/>
          </a:xfrm>
          <a:prstGeom prst="straightConnector1">
            <a:avLst/>
          </a:prstGeom>
          <a:noFill/>
          <a:ln w="25400" algn="ctr">
            <a:solidFill>
              <a:schemeClr val="tx1"/>
            </a:solidFill>
            <a:round/>
            <a:headEnd/>
            <a:tailEnd type="arrow" w="med" len="med"/>
          </a:ln>
          <a:extLst>
            <a:ext uri="{909E8E84-426E-40DD-AFC4-6F175D3DCCD1}">
              <a14:hiddenFill xmlns:a14="http://schemas.microsoft.com/office/drawing/2010/main">
                <a:noFill/>
              </a14:hiddenFill>
            </a:ext>
          </a:extLst>
        </p:spPr>
      </p:cxnSp>
      <p:cxnSp>
        <p:nvCxnSpPr>
          <p:cNvPr id="7197" name="Straight Arrow Connector 97">
            <a:extLst>
              <a:ext uri="{FF2B5EF4-FFF2-40B4-BE49-F238E27FC236}">
                <a16:creationId xmlns:a16="http://schemas.microsoft.com/office/drawing/2014/main" id="{6FB4FF03-C5E0-4340-BD05-DCB7927CF8D8}"/>
              </a:ext>
            </a:extLst>
          </p:cNvPr>
          <p:cNvCxnSpPr>
            <a:cxnSpLocks noChangeShapeType="1"/>
          </p:cNvCxnSpPr>
          <p:nvPr/>
        </p:nvCxnSpPr>
        <p:spPr bwMode="auto">
          <a:xfrm rot="5400000" flipH="1" flipV="1">
            <a:off x="5988844" y="2393157"/>
            <a:ext cx="357188" cy="142875"/>
          </a:xfrm>
          <a:prstGeom prst="straightConnector1">
            <a:avLst/>
          </a:prstGeom>
          <a:noFill/>
          <a:ln w="25400" algn="ctr">
            <a:solidFill>
              <a:schemeClr val="tx1"/>
            </a:solidFill>
            <a:round/>
            <a:headEnd/>
            <a:tailEnd type="arrow" w="med" len="med"/>
          </a:ln>
          <a:extLst>
            <a:ext uri="{909E8E84-426E-40DD-AFC4-6F175D3DCCD1}">
              <a14:hiddenFill xmlns:a14="http://schemas.microsoft.com/office/drawing/2010/main">
                <a:noFill/>
              </a14:hiddenFill>
            </a:ext>
          </a:extLst>
        </p:spPr>
      </p:cxnSp>
      <p:cxnSp>
        <p:nvCxnSpPr>
          <p:cNvPr id="7198" name="Straight Arrow Connector 99">
            <a:extLst>
              <a:ext uri="{FF2B5EF4-FFF2-40B4-BE49-F238E27FC236}">
                <a16:creationId xmlns:a16="http://schemas.microsoft.com/office/drawing/2014/main" id="{9EBBE944-81B3-4185-81F7-5452B44AF083}"/>
              </a:ext>
            </a:extLst>
          </p:cNvPr>
          <p:cNvCxnSpPr>
            <a:cxnSpLocks noChangeShapeType="1"/>
            <a:endCxn id="9" idx="1"/>
          </p:cNvCxnSpPr>
          <p:nvPr/>
        </p:nvCxnSpPr>
        <p:spPr bwMode="auto">
          <a:xfrm>
            <a:off x="6810375" y="3571875"/>
            <a:ext cx="496888" cy="260350"/>
          </a:xfrm>
          <a:prstGeom prst="straightConnector1">
            <a:avLst/>
          </a:prstGeom>
          <a:noFill/>
          <a:ln w="25400" algn="ctr">
            <a:solidFill>
              <a:schemeClr val="tx1"/>
            </a:solidFill>
            <a:round/>
            <a:headEnd/>
            <a:tailEnd type="arrow" w="med" len="med"/>
          </a:ln>
          <a:extLst>
            <a:ext uri="{909E8E84-426E-40DD-AFC4-6F175D3DCCD1}">
              <a14:hiddenFill xmlns:a14="http://schemas.microsoft.com/office/drawing/2010/main">
                <a:noFill/>
              </a14:hiddenFill>
            </a:ext>
          </a:extLst>
        </p:spPr>
      </p:cxnSp>
      <p:cxnSp>
        <p:nvCxnSpPr>
          <p:cNvPr id="7199" name="Straight Arrow Connector 101">
            <a:extLst>
              <a:ext uri="{FF2B5EF4-FFF2-40B4-BE49-F238E27FC236}">
                <a16:creationId xmlns:a16="http://schemas.microsoft.com/office/drawing/2014/main" id="{2E604BF7-1164-4167-8A08-D716C1F1D32E}"/>
              </a:ext>
            </a:extLst>
          </p:cNvPr>
          <p:cNvCxnSpPr>
            <a:cxnSpLocks noChangeShapeType="1"/>
            <a:stCxn id="10" idx="4"/>
          </p:cNvCxnSpPr>
          <p:nvPr/>
        </p:nvCxnSpPr>
        <p:spPr bwMode="auto">
          <a:xfrm rot="5400000">
            <a:off x="5327651" y="4483101"/>
            <a:ext cx="1143000" cy="34925"/>
          </a:xfrm>
          <a:prstGeom prst="straightConnector1">
            <a:avLst/>
          </a:prstGeom>
          <a:noFill/>
          <a:ln w="25400" algn="ctr">
            <a:solidFill>
              <a:schemeClr val="tx1"/>
            </a:solidFill>
            <a:round/>
            <a:headEnd/>
            <a:tailEnd type="arrow" w="med" len="med"/>
          </a:ln>
          <a:extLst>
            <a:ext uri="{909E8E84-426E-40DD-AFC4-6F175D3DCCD1}">
              <a14:hiddenFill xmlns:a14="http://schemas.microsoft.com/office/drawing/2010/main">
                <a:noFill/>
              </a14:hiddenFill>
            </a:ext>
          </a:extLst>
        </p:spPr>
      </p:cxnSp>
      <p:cxnSp>
        <p:nvCxnSpPr>
          <p:cNvPr id="7200" name="Straight Arrow Connector 103">
            <a:extLst>
              <a:ext uri="{FF2B5EF4-FFF2-40B4-BE49-F238E27FC236}">
                <a16:creationId xmlns:a16="http://schemas.microsoft.com/office/drawing/2014/main" id="{1289303F-A9F3-410B-A978-A28E3F64702D}"/>
              </a:ext>
            </a:extLst>
          </p:cNvPr>
          <p:cNvCxnSpPr>
            <a:cxnSpLocks noChangeShapeType="1"/>
            <a:stCxn id="10" idx="3"/>
          </p:cNvCxnSpPr>
          <p:nvPr/>
        </p:nvCxnSpPr>
        <p:spPr bwMode="auto">
          <a:xfrm rot="5400000">
            <a:off x="4142582" y="3479007"/>
            <a:ext cx="831850" cy="1354137"/>
          </a:xfrm>
          <a:prstGeom prst="straightConnector1">
            <a:avLst/>
          </a:prstGeom>
          <a:noFill/>
          <a:ln w="25400" algn="ctr">
            <a:solidFill>
              <a:schemeClr val="tx1"/>
            </a:solidFill>
            <a:round/>
            <a:headEnd/>
            <a:tailEnd type="arrow" w="med" len="med"/>
          </a:ln>
          <a:extLst>
            <a:ext uri="{909E8E84-426E-40DD-AFC4-6F175D3DCCD1}">
              <a14:hiddenFill xmlns:a14="http://schemas.microsoft.com/office/drawing/2010/main">
                <a:noFill/>
              </a14:hiddenFill>
            </a:ext>
          </a:extLst>
        </p:spPr>
      </p:cxnSp>
      <p:cxnSp>
        <p:nvCxnSpPr>
          <p:cNvPr id="7201" name="Straight Arrow Connector 105">
            <a:extLst>
              <a:ext uri="{FF2B5EF4-FFF2-40B4-BE49-F238E27FC236}">
                <a16:creationId xmlns:a16="http://schemas.microsoft.com/office/drawing/2014/main" id="{2F9DF33F-27CC-4FFC-8CFE-7BB47D35C52D}"/>
              </a:ext>
            </a:extLst>
          </p:cNvPr>
          <p:cNvCxnSpPr>
            <a:cxnSpLocks noChangeShapeType="1"/>
            <a:stCxn id="10" idx="2"/>
          </p:cNvCxnSpPr>
          <p:nvPr/>
        </p:nvCxnSpPr>
        <p:spPr bwMode="auto">
          <a:xfrm rot="10800000">
            <a:off x="4095750" y="3143251"/>
            <a:ext cx="857250" cy="142875"/>
          </a:xfrm>
          <a:prstGeom prst="straightConnector1">
            <a:avLst/>
          </a:prstGeom>
          <a:noFill/>
          <a:ln w="25400" algn="ctr">
            <a:solidFill>
              <a:schemeClr val="tx1"/>
            </a:solidFill>
            <a:round/>
            <a:headEnd/>
            <a:tailEnd type="arrow" w="med" len="med"/>
          </a:ln>
          <a:extLst>
            <a:ext uri="{909E8E84-426E-40DD-AFC4-6F175D3DCCD1}">
              <a14:hiddenFill xmlns:a14="http://schemas.microsoft.com/office/drawing/2010/main">
                <a:noFill/>
              </a14:hiddenFill>
            </a:ext>
          </a:extLst>
        </p:spPr>
      </p:cxnSp>
      <p:cxnSp>
        <p:nvCxnSpPr>
          <p:cNvPr id="7202" name="Straight Arrow Connector 109">
            <a:extLst>
              <a:ext uri="{FF2B5EF4-FFF2-40B4-BE49-F238E27FC236}">
                <a16:creationId xmlns:a16="http://schemas.microsoft.com/office/drawing/2014/main" id="{1A21DB42-0FD3-4A58-9DDF-9F150CF13B70}"/>
              </a:ext>
            </a:extLst>
          </p:cNvPr>
          <p:cNvCxnSpPr>
            <a:cxnSpLocks noChangeShapeType="1"/>
          </p:cNvCxnSpPr>
          <p:nvPr/>
        </p:nvCxnSpPr>
        <p:spPr bwMode="auto">
          <a:xfrm rot="10800000">
            <a:off x="4953001" y="1285875"/>
            <a:ext cx="785813" cy="285750"/>
          </a:xfrm>
          <a:prstGeom prst="straightConnector1">
            <a:avLst/>
          </a:prstGeom>
          <a:noFill/>
          <a:ln w="25400" algn="ctr">
            <a:solidFill>
              <a:schemeClr val="tx1"/>
            </a:solidFill>
            <a:round/>
            <a:headEnd/>
            <a:tailEnd type="arrow" w="med" len="med"/>
          </a:ln>
          <a:extLst>
            <a:ext uri="{909E8E84-426E-40DD-AFC4-6F175D3DCCD1}">
              <a14:hiddenFill xmlns:a14="http://schemas.microsoft.com/office/drawing/2010/main">
                <a:noFill/>
              </a14:hiddenFill>
            </a:ext>
          </a:extLst>
        </p:spPr>
      </p:cxnSp>
      <p:cxnSp>
        <p:nvCxnSpPr>
          <p:cNvPr id="7203" name="Straight Arrow Connector 124">
            <a:extLst>
              <a:ext uri="{FF2B5EF4-FFF2-40B4-BE49-F238E27FC236}">
                <a16:creationId xmlns:a16="http://schemas.microsoft.com/office/drawing/2014/main" id="{589A7B23-287D-47FB-928A-1A49347814E7}"/>
              </a:ext>
            </a:extLst>
          </p:cNvPr>
          <p:cNvCxnSpPr>
            <a:cxnSpLocks noChangeShapeType="1"/>
          </p:cNvCxnSpPr>
          <p:nvPr/>
        </p:nvCxnSpPr>
        <p:spPr bwMode="auto">
          <a:xfrm rot="10800000">
            <a:off x="2809875" y="928689"/>
            <a:ext cx="285750" cy="1587"/>
          </a:xfrm>
          <a:prstGeom prst="straightConnector1">
            <a:avLst/>
          </a:prstGeom>
          <a:noFill/>
          <a:ln w="25400" algn="ctr">
            <a:solidFill>
              <a:schemeClr val="tx1"/>
            </a:solidFill>
            <a:round/>
            <a:headEnd/>
            <a:tailEnd type="arrow" w="med" len="med"/>
          </a:ln>
          <a:extLst>
            <a:ext uri="{909E8E84-426E-40DD-AFC4-6F175D3DCCD1}">
              <a14:hiddenFill xmlns:a14="http://schemas.microsoft.com/office/drawing/2010/main">
                <a:noFill/>
              </a14:hiddenFill>
            </a:ext>
          </a:extLst>
        </p:spPr>
      </p:cxnSp>
      <p:cxnSp>
        <p:nvCxnSpPr>
          <p:cNvPr id="7204" name="Straight Arrow Connector 128">
            <a:extLst>
              <a:ext uri="{FF2B5EF4-FFF2-40B4-BE49-F238E27FC236}">
                <a16:creationId xmlns:a16="http://schemas.microsoft.com/office/drawing/2014/main" id="{DC358A33-82BE-41CD-9009-14F994944E38}"/>
              </a:ext>
            </a:extLst>
          </p:cNvPr>
          <p:cNvCxnSpPr>
            <a:cxnSpLocks noChangeShapeType="1"/>
          </p:cNvCxnSpPr>
          <p:nvPr/>
        </p:nvCxnSpPr>
        <p:spPr bwMode="auto">
          <a:xfrm flipV="1">
            <a:off x="7439971" y="931045"/>
            <a:ext cx="169071" cy="361758"/>
          </a:xfrm>
          <a:prstGeom prst="straightConnector1">
            <a:avLst/>
          </a:prstGeom>
          <a:noFill/>
          <a:ln w="25400" algn="ctr">
            <a:solidFill>
              <a:schemeClr val="tx1"/>
            </a:solidFill>
            <a:round/>
            <a:headEnd/>
            <a:tailEnd type="arrow" w="med" len="med"/>
          </a:ln>
          <a:extLst>
            <a:ext uri="{909E8E84-426E-40DD-AFC4-6F175D3DCCD1}">
              <a14:hiddenFill xmlns:a14="http://schemas.microsoft.com/office/drawing/2010/main">
                <a:noFill/>
              </a14:hiddenFill>
            </a:ext>
          </a:extLst>
        </p:spPr>
      </p:cxnSp>
      <p:cxnSp>
        <p:nvCxnSpPr>
          <p:cNvPr id="7205" name="Curved Connector 132">
            <a:extLst>
              <a:ext uri="{FF2B5EF4-FFF2-40B4-BE49-F238E27FC236}">
                <a16:creationId xmlns:a16="http://schemas.microsoft.com/office/drawing/2014/main" id="{3B7D5064-6028-4C06-B73C-424D7ABD8BCF}"/>
              </a:ext>
            </a:extLst>
          </p:cNvPr>
          <p:cNvCxnSpPr>
            <a:cxnSpLocks noChangeShapeType="1"/>
          </p:cNvCxnSpPr>
          <p:nvPr/>
        </p:nvCxnSpPr>
        <p:spPr bwMode="auto">
          <a:xfrm rot="10800000">
            <a:off x="3810000" y="285750"/>
            <a:ext cx="571500" cy="285750"/>
          </a:xfrm>
          <a:prstGeom prst="curvedConnector3">
            <a:avLst>
              <a:gd name="adj1" fmla="val 50000"/>
            </a:avLst>
          </a:prstGeom>
          <a:noFill/>
          <a:ln w="25400" algn="ctr">
            <a:solidFill>
              <a:schemeClr val="tx1"/>
            </a:solidFill>
            <a:round/>
            <a:headEnd/>
            <a:tailEnd type="arrow" w="med" len="med"/>
          </a:ln>
          <a:extLst>
            <a:ext uri="{909E8E84-426E-40DD-AFC4-6F175D3DCCD1}">
              <a14:hiddenFill xmlns:a14="http://schemas.microsoft.com/office/drawing/2010/main">
                <a:noFill/>
              </a14:hiddenFill>
            </a:ext>
          </a:extLst>
        </p:spPr>
      </p:cxnSp>
      <p:cxnSp>
        <p:nvCxnSpPr>
          <p:cNvPr id="7206" name="Straight Arrow Connector 140">
            <a:extLst>
              <a:ext uri="{FF2B5EF4-FFF2-40B4-BE49-F238E27FC236}">
                <a16:creationId xmlns:a16="http://schemas.microsoft.com/office/drawing/2014/main" id="{C6168658-827E-4E0C-81E7-7141391CB396}"/>
              </a:ext>
            </a:extLst>
          </p:cNvPr>
          <p:cNvCxnSpPr>
            <a:cxnSpLocks noChangeShapeType="1"/>
          </p:cNvCxnSpPr>
          <p:nvPr/>
        </p:nvCxnSpPr>
        <p:spPr bwMode="auto">
          <a:xfrm rot="5400000">
            <a:off x="2309813" y="3643313"/>
            <a:ext cx="357188" cy="214313"/>
          </a:xfrm>
          <a:prstGeom prst="straightConnector1">
            <a:avLst/>
          </a:prstGeom>
          <a:noFill/>
          <a:ln w="25400" algn="ctr">
            <a:solidFill>
              <a:schemeClr val="tx1"/>
            </a:solidFill>
            <a:round/>
            <a:headEnd/>
            <a:tailEnd type="arrow" w="med" len="med"/>
          </a:ln>
          <a:extLst>
            <a:ext uri="{909E8E84-426E-40DD-AFC4-6F175D3DCCD1}">
              <a14:hiddenFill xmlns:a14="http://schemas.microsoft.com/office/drawing/2010/main">
                <a:noFill/>
              </a14:hiddenFill>
            </a:ext>
          </a:extLst>
        </p:spPr>
      </p:cxnSp>
      <p:cxnSp>
        <p:nvCxnSpPr>
          <p:cNvPr id="7207" name="Straight Arrow Connector 142">
            <a:extLst>
              <a:ext uri="{FF2B5EF4-FFF2-40B4-BE49-F238E27FC236}">
                <a16:creationId xmlns:a16="http://schemas.microsoft.com/office/drawing/2014/main" id="{119D24D2-DA39-403C-8026-081D1C0D3285}"/>
              </a:ext>
            </a:extLst>
          </p:cNvPr>
          <p:cNvCxnSpPr>
            <a:cxnSpLocks noChangeShapeType="1"/>
          </p:cNvCxnSpPr>
          <p:nvPr/>
        </p:nvCxnSpPr>
        <p:spPr bwMode="auto">
          <a:xfrm rot="5400000">
            <a:off x="2309813" y="5572126"/>
            <a:ext cx="285750" cy="142875"/>
          </a:xfrm>
          <a:prstGeom prst="straightConnector1">
            <a:avLst/>
          </a:prstGeom>
          <a:noFill/>
          <a:ln w="25400" algn="ctr">
            <a:solidFill>
              <a:schemeClr val="tx1"/>
            </a:solidFill>
            <a:round/>
            <a:headEnd/>
            <a:tailEnd type="arrow" w="med" len="med"/>
          </a:ln>
          <a:extLst>
            <a:ext uri="{909E8E84-426E-40DD-AFC4-6F175D3DCCD1}">
              <a14:hiddenFill xmlns:a14="http://schemas.microsoft.com/office/drawing/2010/main">
                <a:noFill/>
              </a14:hiddenFill>
            </a:ext>
          </a:extLst>
        </p:spPr>
      </p:cxnSp>
      <p:cxnSp>
        <p:nvCxnSpPr>
          <p:cNvPr id="7208" name="Straight Arrow Connector 144">
            <a:extLst>
              <a:ext uri="{FF2B5EF4-FFF2-40B4-BE49-F238E27FC236}">
                <a16:creationId xmlns:a16="http://schemas.microsoft.com/office/drawing/2014/main" id="{A43E3932-37AD-4AA4-8A10-C05693D3732E}"/>
              </a:ext>
            </a:extLst>
          </p:cNvPr>
          <p:cNvCxnSpPr>
            <a:cxnSpLocks noChangeShapeType="1"/>
            <a:stCxn id="9" idx="7"/>
          </p:cNvCxnSpPr>
          <p:nvPr/>
        </p:nvCxnSpPr>
        <p:spPr bwMode="auto">
          <a:xfrm rot="5400000" flipH="1" flipV="1">
            <a:off x="8824913" y="3560763"/>
            <a:ext cx="117475" cy="425450"/>
          </a:xfrm>
          <a:prstGeom prst="straightConnector1">
            <a:avLst/>
          </a:prstGeom>
          <a:noFill/>
          <a:ln w="25400" algn="ctr">
            <a:solidFill>
              <a:schemeClr val="tx1"/>
            </a:solidFill>
            <a:round/>
            <a:headEnd/>
            <a:tailEnd type="arrow" w="med" len="med"/>
          </a:ln>
          <a:extLst>
            <a:ext uri="{909E8E84-426E-40DD-AFC4-6F175D3DCCD1}">
              <a14:hiddenFill xmlns:a14="http://schemas.microsoft.com/office/drawing/2010/main">
                <a:noFill/>
              </a14:hiddenFill>
            </a:ext>
          </a:extLst>
        </p:spPr>
      </p:cxnSp>
      <p:cxnSp>
        <p:nvCxnSpPr>
          <p:cNvPr id="7209" name="Straight Arrow Connector 152">
            <a:extLst>
              <a:ext uri="{FF2B5EF4-FFF2-40B4-BE49-F238E27FC236}">
                <a16:creationId xmlns:a16="http://schemas.microsoft.com/office/drawing/2014/main" id="{731AB658-0E2D-47FF-9AE5-4B0CE12D8BFB}"/>
              </a:ext>
            </a:extLst>
          </p:cNvPr>
          <p:cNvCxnSpPr>
            <a:cxnSpLocks noChangeShapeType="1"/>
          </p:cNvCxnSpPr>
          <p:nvPr/>
        </p:nvCxnSpPr>
        <p:spPr bwMode="auto">
          <a:xfrm rot="16200000" flipH="1">
            <a:off x="8613775" y="4768850"/>
            <a:ext cx="857250" cy="749300"/>
          </a:xfrm>
          <a:prstGeom prst="straightConnector1">
            <a:avLst/>
          </a:prstGeom>
          <a:noFill/>
          <a:ln w="25400" algn="ctr">
            <a:solidFill>
              <a:schemeClr val="tx1"/>
            </a:solidFill>
            <a:round/>
            <a:headEnd/>
            <a:tailEnd type="arrow" w="med" len="med"/>
          </a:ln>
          <a:extLst>
            <a:ext uri="{909E8E84-426E-40DD-AFC4-6F175D3DCCD1}">
              <a14:hiddenFill xmlns:a14="http://schemas.microsoft.com/office/drawing/2010/main">
                <a:noFill/>
              </a14:hiddenFill>
            </a:ext>
          </a:extLst>
        </p:spPr>
      </p:cxnSp>
      <p:cxnSp>
        <p:nvCxnSpPr>
          <p:cNvPr id="7210" name="Straight Arrow Connector 154">
            <a:extLst>
              <a:ext uri="{FF2B5EF4-FFF2-40B4-BE49-F238E27FC236}">
                <a16:creationId xmlns:a16="http://schemas.microsoft.com/office/drawing/2014/main" id="{B3557AAD-5E36-4C1A-9A29-FFB75B7BA08F}"/>
              </a:ext>
            </a:extLst>
          </p:cNvPr>
          <p:cNvCxnSpPr>
            <a:cxnSpLocks noChangeShapeType="1"/>
            <a:stCxn id="9" idx="4"/>
          </p:cNvCxnSpPr>
          <p:nvPr/>
        </p:nvCxnSpPr>
        <p:spPr bwMode="auto">
          <a:xfrm rot="5400000">
            <a:off x="7685882" y="5196682"/>
            <a:ext cx="571500" cy="36513"/>
          </a:xfrm>
          <a:prstGeom prst="straightConnector1">
            <a:avLst/>
          </a:prstGeom>
          <a:noFill/>
          <a:ln w="25400" algn="ctr">
            <a:solidFill>
              <a:schemeClr val="tx1"/>
            </a:solidFill>
            <a:round/>
            <a:headEnd/>
            <a:tailEnd type="arrow" w="med" len="med"/>
          </a:ln>
          <a:extLst>
            <a:ext uri="{909E8E84-426E-40DD-AFC4-6F175D3DCCD1}">
              <a14:hiddenFill xmlns:a14="http://schemas.microsoft.com/office/drawing/2010/main">
                <a:noFill/>
              </a14:hiddenFill>
            </a:ext>
          </a:extLst>
        </p:spPr>
      </p:cxnSp>
      <p:cxnSp>
        <p:nvCxnSpPr>
          <p:cNvPr id="7211" name="Shape 47">
            <a:extLst>
              <a:ext uri="{FF2B5EF4-FFF2-40B4-BE49-F238E27FC236}">
                <a16:creationId xmlns:a16="http://schemas.microsoft.com/office/drawing/2014/main" id="{F271D83E-5993-4A26-87C9-BA370144DF47}"/>
              </a:ext>
            </a:extLst>
          </p:cNvPr>
          <p:cNvCxnSpPr>
            <a:cxnSpLocks noChangeShapeType="1"/>
            <a:stCxn id="12" idx="6"/>
            <a:endCxn id="7195" idx="0"/>
          </p:cNvCxnSpPr>
          <p:nvPr/>
        </p:nvCxnSpPr>
        <p:spPr bwMode="auto">
          <a:xfrm>
            <a:off x="6738939" y="5715000"/>
            <a:ext cx="536575" cy="642938"/>
          </a:xfrm>
          <a:prstGeom prst="curvedConnector2">
            <a:avLst/>
          </a:prstGeom>
          <a:noFill/>
          <a:ln w="25400" algn="ctr">
            <a:solidFill>
              <a:schemeClr val="tx1"/>
            </a:solidFill>
            <a:round/>
            <a:headEnd/>
            <a:tailEnd type="arrow" w="med" len="med"/>
          </a:ln>
          <a:extLst>
            <a:ext uri="{909E8E84-426E-40DD-AFC4-6F175D3DCCD1}">
              <a14:hiddenFill xmlns:a14="http://schemas.microsoft.com/office/drawing/2010/main">
                <a:noFill/>
              </a14:hiddenFill>
            </a:ext>
          </a:extLst>
        </p:spPr>
      </p:cxnSp>
      <p:cxnSp>
        <p:nvCxnSpPr>
          <p:cNvPr id="7212" name="Straight Arrow Connector 49">
            <a:extLst>
              <a:ext uri="{FF2B5EF4-FFF2-40B4-BE49-F238E27FC236}">
                <a16:creationId xmlns:a16="http://schemas.microsoft.com/office/drawing/2014/main" id="{736F687D-05D9-4F50-B37B-E69615ACC4DD}"/>
              </a:ext>
            </a:extLst>
          </p:cNvPr>
          <p:cNvCxnSpPr>
            <a:cxnSpLocks noChangeShapeType="1"/>
          </p:cNvCxnSpPr>
          <p:nvPr/>
        </p:nvCxnSpPr>
        <p:spPr bwMode="auto">
          <a:xfrm>
            <a:off x="8882064" y="4500564"/>
            <a:ext cx="428625" cy="142875"/>
          </a:xfrm>
          <a:prstGeom prst="straightConnector1">
            <a:avLst/>
          </a:prstGeom>
          <a:noFill/>
          <a:ln w="25400" algn="ctr">
            <a:solidFill>
              <a:schemeClr val="tx1"/>
            </a:solidFill>
            <a:round/>
            <a:headEnd/>
            <a:tailEnd type="arrow" w="med" len="med"/>
          </a:ln>
          <a:extLst>
            <a:ext uri="{909E8E84-426E-40DD-AFC4-6F175D3DCCD1}">
              <a14:hiddenFill xmlns:a14="http://schemas.microsoft.com/office/drawing/2010/main">
                <a:noFill/>
              </a14:hiddenFill>
            </a:ext>
          </a:extLst>
        </p:spPr>
      </p:cxnSp>
      <p:cxnSp>
        <p:nvCxnSpPr>
          <p:cNvPr id="7213" name="Straight Arrow Connector 3">
            <a:extLst>
              <a:ext uri="{FF2B5EF4-FFF2-40B4-BE49-F238E27FC236}">
                <a16:creationId xmlns:a16="http://schemas.microsoft.com/office/drawing/2014/main" id="{7751106E-3449-4A31-8926-AE8FCB2A11D6}"/>
              </a:ext>
            </a:extLst>
          </p:cNvPr>
          <p:cNvCxnSpPr>
            <a:cxnSpLocks noChangeShapeType="1"/>
            <a:stCxn id="12" idx="2"/>
          </p:cNvCxnSpPr>
          <p:nvPr/>
        </p:nvCxnSpPr>
        <p:spPr bwMode="auto">
          <a:xfrm flipH="1">
            <a:off x="4381501" y="5715001"/>
            <a:ext cx="428625" cy="322263"/>
          </a:xfrm>
          <a:prstGeom prst="straightConnector1">
            <a:avLst/>
          </a:prstGeom>
          <a:noFill/>
          <a:ln w="25400" algn="ctr">
            <a:solidFill>
              <a:schemeClr val="tx1"/>
            </a:solidFill>
            <a:round/>
            <a:headEnd/>
            <a:tailEnd type="arrow" w="med" len="med"/>
          </a:ln>
          <a:extLst>
            <a:ext uri="{909E8E84-426E-40DD-AFC4-6F175D3DCCD1}">
              <a14:hiddenFill xmlns:a14="http://schemas.microsoft.com/office/drawing/2010/main">
                <a:noFill/>
              </a14:hiddenFill>
            </a:ext>
          </a:extLst>
        </p:spPr>
      </p:cxnSp>
      <p:sp>
        <p:nvSpPr>
          <p:cNvPr id="7214" name="TextBox 4">
            <a:extLst>
              <a:ext uri="{FF2B5EF4-FFF2-40B4-BE49-F238E27FC236}">
                <a16:creationId xmlns:a16="http://schemas.microsoft.com/office/drawing/2014/main" id="{3973912C-AD29-40F2-9F2E-B79C5B65E9ED}"/>
              </a:ext>
            </a:extLst>
          </p:cNvPr>
          <p:cNvSpPr txBox="1">
            <a:spLocks noChangeArrowheads="1"/>
          </p:cNvSpPr>
          <p:nvPr/>
        </p:nvSpPr>
        <p:spPr bwMode="auto">
          <a:xfrm>
            <a:off x="3238501" y="5953126"/>
            <a:ext cx="1331913"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2400">
                <a:solidFill>
                  <a:srgbClr val="0000FF"/>
                </a:solidFill>
                <a:latin typeface="Tahoma" panose="020B0604030504040204" pitchFamily="34" charset="0"/>
              </a:defRPr>
            </a:lvl1pPr>
            <a:lvl2pPr marL="742950" indent="-285750">
              <a:defRPr sz="2400">
                <a:solidFill>
                  <a:srgbClr val="0000FF"/>
                </a:solidFill>
                <a:latin typeface="Tahoma" panose="020B0604030504040204" pitchFamily="34" charset="0"/>
              </a:defRPr>
            </a:lvl2pPr>
            <a:lvl3pPr marL="1143000" indent="-228600">
              <a:defRPr sz="2400">
                <a:solidFill>
                  <a:srgbClr val="0000FF"/>
                </a:solidFill>
                <a:latin typeface="Tahoma" panose="020B0604030504040204" pitchFamily="34" charset="0"/>
              </a:defRPr>
            </a:lvl3pPr>
            <a:lvl4pPr marL="1600200" indent="-228600">
              <a:defRPr sz="2400">
                <a:solidFill>
                  <a:srgbClr val="0000FF"/>
                </a:solidFill>
                <a:latin typeface="Tahoma" panose="020B0604030504040204" pitchFamily="34" charset="0"/>
              </a:defRPr>
            </a:lvl4pPr>
            <a:lvl5pPr marL="2057400" indent="-228600">
              <a:defRPr sz="2400">
                <a:solidFill>
                  <a:srgbClr val="0000FF"/>
                </a:solidFill>
                <a:latin typeface="Tahoma" panose="020B0604030504040204" pitchFamily="34" charset="0"/>
              </a:defRPr>
            </a:lvl5pPr>
            <a:lvl6pPr marL="2514600" indent="-228600" algn="ctr" eaLnBrk="0" fontAlgn="base" hangingPunct="0">
              <a:spcBef>
                <a:spcPct val="0"/>
              </a:spcBef>
              <a:spcAft>
                <a:spcPct val="0"/>
              </a:spcAft>
              <a:defRPr sz="2400">
                <a:solidFill>
                  <a:srgbClr val="0000FF"/>
                </a:solidFill>
                <a:latin typeface="Tahoma" panose="020B0604030504040204" pitchFamily="34" charset="0"/>
              </a:defRPr>
            </a:lvl6pPr>
            <a:lvl7pPr marL="2971800" indent="-228600" algn="ctr" eaLnBrk="0" fontAlgn="base" hangingPunct="0">
              <a:spcBef>
                <a:spcPct val="0"/>
              </a:spcBef>
              <a:spcAft>
                <a:spcPct val="0"/>
              </a:spcAft>
              <a:defRPr sz="2400">
                <a:solidFill>
                  <a:srgbClr val="0000FF"/>
                </a:solidFill>
                <a:latin typeface="Tahoma" panose="020B0604030504040204" pitchFamily="34" charset="0"/>
              </a:defRPr>
            </a:lvl7pPr>
            <a:lvl8pPr marL="3429000" indent="-228600" algn="ctr" eaLnBrk="0" fontAlgn="base" hangingPunct="0">
              <a:spcBef>
                <a:spcPct val="0"/>
              </a:spcBef>
              <a:spcAft>
                <a:spcPct val="0"/>
              </a:spcAft>
              <a:defRPr sz="2400">
                <a:solidFill>
                  <a:srgbClr val="0000FF"/>
                </a:solidFill>
                <a:latin typeface="Tahoma" panose="020B0604030504040204" pitchFamily="34" charset="0"/>
              </a:defRPr>
            </a:lvl8pPr>
            <a:lvl9pPr marL="3886200" indent="-228600" algn="ctr" eaLnBrk="0" fontAlgn="base" hangingPunct="0">
              <a:spcBef>
                <a:spcPct val="0"/>
              </a:spcBef>
              <a:spcAft>
                <a:spcPct val="0"/>
              </a:spcAft>
              <a:defRPr sz="2400">
                <a:solidFill>
                  <a:srgbClr val="0000FF"/>
                </a:solidFill>
                <a:latin typeface="Tahoma" panose="020B0604030504040204" pitchFamily="34" charset="0"/>
              </a:defRPr>
            </a:lvl9pPr>
          </a:lstStyle>
          <a:p>
            <a:r>
              <a:rPr lang="en-GB" altLang="en-US" sz="1400" dirty="0"/>
              <a:t>Competence</a:t>
            </a:r>
          </a:p>
        </p:txBody>
      </p:sp>
      <p:sp>
        <p:nvSpPr>
          <p:cNvPr id="47" name="TextBox 44">
            <a:extLst>
              <a:ext uri="{FF2B5EF4-FFF2-40B4-BE49-F238E27FC236}">
                <a16:creationId xmlns:a16="http://schemas.microsoft.com/office/drawing/2014/main" id="{8EE45167-57F1-4A55-8AAE-9533BF77945E}"/>
              </a:ext>
            </a:extLst>
          </p:cNvPr>
          <p:cNvSpPr txBox="1">
            <a:spLocks noChangeArrowheads="1"/>
          </p:cNvSpPr>
          <p:nvPr/>
        </p:nvSpPr>
        <p:spPr bwMode="auto">
          <a:xfrm>
            <a:off x="1452562" y="1181099"/>
            <a:ext cx="1500188"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2400">
                <a:solidFill>
                  <a:srgbClr val="0000FF"/>
                </a:solidFill>
                <a:latin typeface="Tahoma" panose="020B0604030504040204" pitchFamily="34" charset="0"/>
              </a:defRPr>
            </a:lvl1pPr>
            <a:lvl2pPr marL="742950" indent="-285750">
              <a:defRPr sz="2400">
                <a:solidFill>
                  <a:srgbClr val="0000FF"/>
                </a:solidFill>
                <a:latin typeface="Tahoma" panose="020B0604030504040204" pitchFamily="34" charset="0"/>
              </a:defRPr>
            </a:lvl2pPr>
            <a:lvl3pPr marL="1143000" indent="-228600">
              <a:defRPr sz="2400">
                <a:solidFill>
                  <a:srgbClr val="0000FF"/>
                </a:solidFill>
                <a:latin typeface="Tahoma" panose="020B0604030504040204" pitchFamily="34" charset="0"/>
              </a:defRPr>
            </a:lvl3pPr>
            <a:lvl4pPr marL="1600200" indent="-228600">
              <a:defRPr sz="2400">
                <a:solidFill>
                  <a:srgbClr val="0000FF"/>
                </a:solidFill>
                <a:latin typeface="Tahoma" panose="020B0604030504040204" pitchFamily="34" charset="0"/>
              </a:defRPr>
            </a:lvl4pPr>
            <a:lvl5pPr marL="2057400" indent="-228600">
              <a:defRPr sz="2400">
                <a:solidFill>
                  <a:srgbClr val="0000FF"/>
                </a:solidFill>
                <a:latin typeface="Tahoma" panose="020B0604030504040204" pitchFamily="34" charset="0"/>
              </a:defRPr>
            </a:lvl5pPr>
            <a:lvl6pPr marL="2514600" indent="-228600" algn="ctr" eaLnBrk="0" fontAlgn="base" hangingPunct="0">
              <a:spcBef>
                <a:spcPct val="0"/>
              </a:spcBef>
              <a:spcAft>
                <a:spcPct val="0"/>
              </a:spcAft>
              <a:defRPr sz="2400">
                <a:solidFill>
                  <a:srgbClr val="0000FF"/>
                </a:solidFill>
                <a:latin typeface="Tahoma" panose="020B0604030504040204" pitchFamily="34" charset="0"/>
              </a:defRPr>
            </a:lvl6pPr>
            <a:lvl7pPr marL="2971800" indent="-228600" algn="ctr" eaLnBrk="0" fontAlgn="base" hangingPunct="0">
              <a:spcBef>
                <a:spcPct val="0"/>
              </a:spcBef>
              <a:spcAft>
                <a:spcPct val="0"/>
              </a:spcAft>
              <a:defRPr sz="2400">
                <a:solidFill>
                  <a:srgbClr val="0000FF"/>
                </a:solidFill>
                <a:latin typeface="Tahoma" panose="020B0604030504040204" pitchFamily="34" charset="0"/>
              </a:defRPr>
            </a:lvl7pPr>
            <a:lvl8pPr marL="3429000" indent="-228600" algn="ctr" eaLnBrk="0" fontAlgn="base" hangingPunct="0">
              <a:spcBef>
                <a:spcPct val="0"/>
              </a:spcBef>
              <a:spcAft>
                <a:spcPct val="0"/>
              </a:spcAft>
              <a:defRPr sz="2400">
                <a:solidFill>
                  <a:srgbClr val="0000FF"/>
                </a:solidFill>
                <a:latin typeface="Tahoma" panose="020B0604030504040204" pitchFamily="34" charset="0"/>
              </a:defRPr>
            </a:lvl8pPr>
            <a:lvl9pPr marL="3886200" indent="-228600" algn="ctr" eaLnBrk="0" fontAlgn="base" hangingPunct="0">
              <a:spcBef>
                <a:spcPct val="0"/>
              </a:spcBef>
              <a:spcAft>
                <a:spcPct val="0"/>
              </a:spcAft>
              <a:defRPr sz="2400">
                <a:solidFill>
                  <a:srgbClr val="0000FF"/>
                </a:solidFill>
                <a:latin typeface="Tahoma" panose="020B0604030504040204" pitchFamily="34" charset="0"/>
              </a:defRPr>
            </a:lvl9pPr>
          </a:lstStyle>
          <a:p>
            <a:r>
              <a:rPr lang="en-GB" altLang="en-US" sz="1400" dirty="0"/>
              <a:t>Inductions</a:t>
            </a:r>
          </a:p>
        </p:txBody>
      </p:sp>
      <p:cxnSp>
        <p:nvCxnSpPr>
          <p:cNvPr id="48" name="Straight Arrow Connector 128">
            <a:extLst>
              <a:ext uri="{FF2B5EF4-FFF2-40B4-BE49-F238E27FC236}">
                <a16:creationId xmlns:a16="http://schemas.microsoft.com/office/drawing/2014/main" id="{EB8DDD5D-0F57-4EA4-A347-1F1CCFD631E4}"/>
              </a:ext>
            </a:extLst>
          </p:cNvPr>
          <p:cNvCxnSpPr>
            <a:cxnSpLocks noChangeShapeType="1"/>
          </p:cNvCxnSpPr>
          <p:nvPr/>
        </p:nvCxnSpPr>
        <p:spPr bwMode="auto">
          <a:xfrm flipH="1" flipV="1">
            <a:off x="2431256" y="1331022"/>
            <a:ext cx="664369" cy="31552"/>
          </a:xfrm>
          <a:prstGeom prst="straightConnector1">
            <a:avLst/>
          </a:prstGeom>
          <a:noFill/>
          <a:ln w="25400" algn="ctr">
            <a:solidFill>
              <a:schemeClr val="tx1"/>
            </a:solidFill>
            <a:round/>
            <a:headEnd/>
            <a:tailEnd type="arrow" w="med" len="med"/>
          </a:ln>
          <a:extLst>
            <a:ext uri="{909E8E84-426E-40DD-AFC4-6F175D3DCCD1}">
              <a14:hiddenFill xmlns:a14="http://schemas.microsoft.com/office/drawing/2010/main">
                <a:noFill/>
              </a14:hiddenFill>
            </a:ext>
          </a:extLst>
        </p:spPr>
      </p:cxnSp>
      <p:sp>
        <p:nvSpPr>
          <p:cNvPr id="51" name="TextBox 44">
            <a:extLst>
              <a:ext uri="{FF2B5EF4-FFF2-40B4-BE49-F238E27FC236}">
                <a16:creationId xmlns:a16="http://schemas.microsoft.com/office/drawing/2014/main" id="{C3958371-51B5-409F-9854-5722D519155D}"/>
              </a:ext>
            </a:extLst>
          </p:cNvPr>
          <p:cNvSpPr txBox="1">
            <a:spLocks noChangeArrowheads="1"/>
          </p:cNvSpPr>
          <p:nvPr/>
        </p:nvSpPr>
        <p:spPr bwMode="auto">
          <a:xfrm>
            <a:off x="479425" y="4571268"/>
            <a:ext cx="1500188"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2400">
                <a:solidFill>
                  <a:srgbClr val="0000FF"/>
                </a:solidFill>
                <a:latin typeface="Tahoma" panose="020B0604030504040204" pitchFamily="34" charset="0"/>
              </a:defRPr>
            </a:lvl1pPr>
            <a:lvl2pPr marL="742950" indent="-285750">
              <a:defRPr sz="2400">
                <a:solidFill>
                  <a:srgbClr val="0000FF"/>
                </a:solidFill>
                <a:latin typeface="Tahoma" panose="020B0604030504040204" pitchFamily="34" charset="0"/>
              </a:defRPr>
            </a:lvl2pPr>
            <a:lvl3pPr marL="1143000" indent="-228600">
              <a:defRPr sz="2400">
                <a:solidFill>
                  <a:srgbClr val="0000FF"/>
                </a:solidFill>
                <a:latin typeface="Tahoma" panose="020B0604030504040204" pitchFamily="34" charset="0"/>
              </a:defRPr>
            </a:lvl3pPr>
            <a:lvl4pPr marL="1600200" indent="-228600">
              <a:defRPr sz="2400">
                <a:solidFill>
                  <a:srgbClr val="0000FF"/>
                </a:solidFill>
                <a:latin typeface="Tahoma" panose="020B0604030504040204" pitchFamily="34" charset="0"/>
              </a:defRPr>
            </a:lvl4pPr>
            <a:lvl5pPr marL="2057400" indent="-228600">
              <a:defRPr sz="2400">
                <a:solidFill>
                  <a:srgbClr val="0000FF"/>
                </a:solidFill>
                <a:latin typeface="Tahoma" panose="020B0604030504040204" pitchFamily="34" charset="0"/>
              </a:defRPr>
            </a:lvl5pPr>
            <a:lvl6pPr marL="2514600" indent="-228600" algn="ctr" eaLnBrk="0" fontAlgn="base" hangingPunct="0">
              <a:spcBef>
                <a:spcPct val="0"/>
              </a:spcBef>
              <a:spcAft>
                <a:spcPct val="0"/>
              </a:spcAft>
              <a:defRPr sz="2400">
                <a:solidFill>
                  <a:srgbClr val="0000FF"/>
                </a:solidFill>
                <a:latin typeface="Tahoma" panose="020B0604030504040204" pitchFamily="34" charset="0"/>
              </a:defRPr>
            </a:lvl6pPr>
            <a:lvl7pPr marL="2971800" indent="-228600" algn="ctr" eaLnBrk="0" fontAlgn="base" hangingPunct="0">
              <a:spcBef>
                <a:spcPct val="0"/>
              </a:spcBef>
              <a:spcAft>
                <a:spcPct val="0"/>
              </a:spcAft>
              <a:defRPr sz="2400">
                <a:solidFill>
                  <a:srgbClr val="0000FF"/>
                </a:solidFill>
                <a:latin typeface="Tahoma" panose="020B0604030504040204" pitchFamily="34" charset="0"/>
              </a:defRPr>
            </a:lvl7pPr>
            <a:lvl8pPr marL="3429000" indent="-228600" algn="ctr" eaLnBrk="0" fontAlgn="base" hangingPunct="0">
              <a:spcBef>
                <a:spcPct val="0"/>
              </a:spcBef>
              <a:spcAft>
                <a:spcPct val="0"/>
              </a:spcAft>
              <a:defRPr sz="2400">
                <a:solidFill>
                  <a:srgbClr val="0000FF"/>
                </a:solidFill>
                <a:latin typeface="Tahoma" panose="020B0604030504040204" pitchFamily="34" charset="0"/>
              </a:defRPr>
            </a:lvl8pPr>
            <a:lvl9pPr marL="3886200" indent="-228600" algn="ctr" eaLnBrk="0" fontAlgn="base" hangingPunct="0">
              <a:spcBef>
                <a:spcPct val="0"/>
              </a:spcBef>
              <a:spcAft>
                <a:spcPct val="0"/>
              </a:spcAft>
              <a:defRPr sz="2400">
                <a:solidFill>
                  <a:srgbClr val="0000FF"/>
                </a:solidFill>
                <a:latin typeface="Tahoma" panose="020B0604030504040204" pitchFamily="34" charset="0"/>
              </a:defRPr>
            </a:lvl9pPr>
          </a:lstStyle>
          <a:p>
            <a:r>
              <a:rPr lang="en-GB" altLang="en-US" sz="1400" dirty="0"/>
              <a:t>Capability Assessments</a:t>
            </a:r>
          </a:p>
        </p:txBody>
      </p:sp>
      <p:cxnSp>
        <p:nvCxnSpPr>
          <p:cNvPr id="52" name="Straight Arrow Connector 142">
            <a:extLst>
              <a:ext uri="{FF2B5EF4-FFF2-40B4-BE49-F238E27FC236}">
                <a16:creationId xmlns:a16="http://schemas.microsoft.com/office/drawing/2014/main" id="{46C738E7-FF48-4467-80F9-59A53BF2DC74}"/>
              </a:ext>
            </a:extLst>
          </p:cNvPr>
          <p:cNvCxnSpPr>
            <a:cxnSpLocks noChangeShapeType="1"/>
            <a:stCxn id="42" idx="2"/>
          </p:cNvCxnSpPr>
          <p:nvPr/>
        </p:nvCxnSpPr>
        <p:spPr bwMode="auto">
          <a:xfrm flipH="1" flipV="1">
            <a:off x="1465265" y="4786114"/>
            <a:ext cx="630236" cy="143075"/>
          </a:xfrm>
          <a:prstGeom prst="straightConnector1">
            <a:avLst/>
          </a:prstGeom>
          <a:noFill/>
          <a:ln w="25400" algn="ctr">
            <a:solidFill>
              <a:schemeClr val="tx1"/>
            </a:solidFill>
            <a:round/>
            <a:headEnd/>
            <a:tailEnd type="arrow" w="med" len="med"/>
          </a:ln>
          <a:extLst>
            <a:ext uri="{909E8E84-426E-40DD-AFC4-6F175D3DCCD1}">
              <a14:hiddenFill xmlns:a14="http://schemas.microsoft.com/office/drawing/2010/main">
                <a:noFill/>
              </a14:hiddenFill>
            </a:ext>
          </a:extLst>
        </p:spPr>
      </p:cxnSp>
      <p:sp>
        <p:nvSpPr>
          <p:cNvPr id="57" name="TextBox 44">
            <a:extLst>
              <a:ext uri="{FF2B5EF4-FFF2-40B4-BE49-F238E27FC236}">
                <a16:creationId xmlns:a16="http://schemas.microsoft.com/office/drawing/2014/main" id="{C8E20300-393D-416E-96DD-26224320B2D4}"/>
              </a:ext>
            </a:extLst>
          </p:cNvPr>
          <p:cNvSpPr txBox="1">
            <a:spLocks noChangeArrowheads="1"/>
          </p:cNvSpPr>
          <p:nvPr/>
        </p:nvSpPr>
        <p:spPr bwMode="auto">
          <a:xfrm>
            <a:off x="280196" y="2731066"/>
            <a:ext cx="1500187"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2400">
                <a:solidFill>
                  <a:srgbClr val="0000FF"/>
                </a:solidFill>
                <a:latin typeface="Tahoma" panose="020B0604030504040204" pitchFamily="34" charset="0"/>
              </a:defRPr>
            </a:lvl1pPr>
            <a:lvl2pPr marL="742950" indent="-285750">
              <a:defRPr sz="2400">
                <a:solidFill>
                  <a:srgbClr val="0000FF"/>
                </a:solidFill>
                <a:latin typeface="Tahoma" panose="020B0604030504040204" pitchFamily="34" charset="0"/>
              </a:defRPr>
            </a:lvl2pPr>
            <a:lvl3pPr marL="1143000" indent="-228600">
              <a:defRPr sz="2400">
                <a:solidFill>
                  <a:srgbClr val="0000FF"/>
                </a:solidFill>
                <a:latin typeface="Tahoma" panose="020B0604030504040204" pitchFamily="34" charset="0"/>
              </a:defRPr>
            </a:lvl3pPr>
            <a:lvl4pPr marL="1600200" indent="-228600">
              <a:defRPr sz="2400">
                <a:solidFill>
                  <a:srgbClr val="0000FF"/>
                </a:solidFill>
                <a:latin typeface="Tahoma" panose="020B0604030504040204" pitchFamily="34" charset="0"/>
              </a:defRPr>
            </a:lvl4pPr>
            <a:lvl5pPr marL="2057400" indent="-228600">
              <a:defRPr sz="2400">
                <a:solidFill>
                  <a:srgbClr val="0000FF"/>
                </a:solidFill>
                <a:latin typeface="Tahoma" panose="020B0604030504040204" pitchFamily="34" charset="0"/>
              </a:defRPr>
            </a:lvl5pPr>
            <a:lvl6pPr marL="2514600" indent="-228600" algn="ctr" eaLnBrk="0" fontAlgn="base" hangingPunct="0">
              <a:spcBef>
                <a:spcPct val="0"/>
              </a:spcBef>
              <a:spcAft>
                <a:spcPct val="0"/>
              </a:spcAft>
              <a:defRPr sz="2400">
                <a:solidFill>
                  <a:srgbClr val="0000FF"/>
                </a:solidFill>
                <a:latin typeface="Tahoma" panose="020B0604030504040204" pitchFamily="34" charset="0"/>
              </a:defRPr>
            </a:lvl6pPr>
            <a:lvl7pPr marL="2971800" indent="-228600" algn="ctr" eaLnBrk="0" fontAlgn="base" hangingPunct="0">
              <a:spcBef>
                <a:spcPct val="0"/>
              </a:spcBef>
              <a:spcAft>
                <a:spcPct val="0"/>
              </a:spcAft>
              <a:defRPr sz="2400">
                <a:solidFill>
                  <a:srgbClr val="0000FF"/>
                </a:solidFill>
                <a:latin typeface="Tahoma" panose="020B0604030504040204" pitchFamily="34" charset="0"/>
              </a:defRPr>
            </a:lvl7pPr>
            <a:lvl8pPr marL="3429000" indent="-228600" algn="ctr" eaLnBrk="0" fontAlgn="base" hangingPunct="0">
              <a:spcBef>
                <a:spcPct val="0"/>
              </a:spcBef>
              <a:spcAft>
                <a:spcPct val="0"/>
              </a:spcAft>
              <a:defRPr sz="2400">
                <a:solidFill>
                  <a:srgbClr val="0000FF"/>
                </a:solidFill>
                <a:latin typeface="Tahoma" panose="020B0604030504040204" pitchFamily="34" charset="0"/>
              </a:defRPr>
            </a:lvl8pPr>
            <a:lvl9pPr marL="3886200" indent="-228600" algn="ctr" eaLnBrk="0" fontAlgn="base" hangingPunct="0">
              <a:spcBef>
                <a:spcPct val="0"/>
              </a:spcBef>
              <a:spcAft>
                <a:spcPct val="0"/>
              </a:spcAft>
              <a:defRPr sz="2400">
                <a:solidFill>
                  <a:srgbClr val="0000FF"/>
                </a:solidFill>
                <a:latin typeface="Tahoma" panose="020B0604030504040204" pitchFamily="34" charset="0"/>
              </a:defRPr>
            </a:lvl9pPr>
          </a:lstStyle>
          <a:p>
            <a:r>
              <a:rPr lang="en-GB" altLang="en-US" sz="1400" dirty="0"/>
              <a:t>Interventions</a:t>
            </a:r>
          </a:p>
        </p:txBody>
      </p:sp>
      <p:cxnSp>
        <p:nvCxnSpPr>
          <p:cNvPr id="58" name="Straight Arrow Connector 140">
            <a:extLst>
              <a:ext uri="{FF2B5EF4-FFF2-40B4-BE49-F238E27FC236}">
                <a16:creationId xmlns:a16="http://schemas.microsoft.com/office/drawing/2014/main" id="{3F9E0E76-FEB8-4CC2-B41A-7DF673EF5BE2}"/>
              </a:ext>
            </a:extLst>
          </p:cNvPr>
          <p:cNvCxnSpPr>
            <a:cxnSpLocks noChangeShapeType="1"/>
          </p:cNvCxnSpPr>
          <p:nvPr/>
        </p:nvCxnSpPr>
        <p:spPr bwMode="auto">
          <a:xfrm flipH="1">
            <a:off x="1488281" y="2884954"/>
            <a:ext cx="714375" cy="0"/>
          </a:xfrm>
          <a:prstGeom prst="straightConnector1">
            <a:avLst/>
          </a:prstGeom>
          <a:noFill/>
          <a:ln w="25400" algn="ctr">
            <a:solidFill>
              <a:schemeClr val="tx1"/>
            </a:solidFill>
            <a:round/>
            <a:headEnd/>
            <a:tailEnd type="arrow" w="med" len="med"/>
          </a:ln>
          <a:extLst>
            <a:ext uri="{909E8E84-426E-40DD-AFC4-6F175D3DCCD1}">
              <a14:hiddenFill xmlns:a14="http://schemas.microsoft.com/office/drawing/2010/main">
                <a:noFill/>
              </a14:hiddenFill>
            </a:ext>
          </a:extLst>
        </p:spPr>
      </p:cxnSp>
      <p:sp>
        <p:nvSpPr>
          <p:cNvPr id="19" name="TextBox 18">
            <a:extLst>
              <a:ext uri="{FF2B5EF4-FFF2-40B4-BE49-F238E27FC236}">
                <a16:creationId xmlns:a16="http://schemas.microsoft.com/office/drawing/2014/main" id="{F2375D59-6090-41C3-B4BF-A1946E9D8353}"/>
              </a:ext>
            </a:extLst>
          </p:cNvPr>
          <p:cNvSpPr txBox="1"/>
          <p:nvPr/>
        </p:nvSpPr>
        <p:spPr>
          <a:xfrm>
            <a:off x="8276746" y="233131"/>
            <a:ext cx="3695700" cy="461665"/>
          </a:xfrm>
          <a:prstGeom prst="rect">
            <a:avLst/>
          </a:prstGeom>
          <a:noFill/>
        </p:spPr>
        <p:txBody>
          <a:bodyPr wrap="square" rtlCol="0">
            <a:spAutoFit/>
          </a:bodyPr>
          <a:lstStyle/>
          <a:p>
            <a:r>
              <a:rPr lang="en-US" sz="2400" b="1" dirty="0"/>
              <a:t>Operating Environment</a:t>
            </a:r>
            <a:endParaRPr lang="en-GB" sz="2400" b="1" dirty="0"/>
          </a:p>
        </p:txBody>
      </p:sp>
      <p:pic>
        <p:nvPicPr>
          <p:cNvPr id="2" name="Picture 1" descr="A logo of a puzzle ball&#10;&#10;Description automatically generated">
            <a:extLst>
              <a:ext uri="{FF2B5EF4-FFF2-40B4-BE49-F238E27FC236}">
                <a16:creationId xmlns:a16="http://schemas.microsoft.com/office/drawing/2014/main" id="{277A39AA-C8DA-AEA0-EC28-26BD0A75076F}"/>
              </a:ext>
            </a:extLst>
          </p:cNvPr>
          <p:cNvPicPr>
            <a:picLocks noChangeAspect="1"/>
          </p:cNvPicPr>
          <p:nvPr/>
        </p:nvPicPr>
        <p:blipFill>
          <a:blip r:embed="rId2"/>
          <a:stretch>
            <a:fillRect/>
          </a:stretch>
        </p:blipFill>
        <p:spPr>
          <a:xfrm>
            <a:off x="10442287" y="5265846"/>
            <a:ext cx="1634489" cy="1550095"/>
          </a:xfrm>
          <a:prstGeom prst="rect">
            <a:avLst/>
          </a:prstGeom>
        </p:spPr>
      </p:pic>
      <p:cxnSp>
        <p:nvCxnSpPr>
          <p:cNvPr id="3" name="Straight Arrow Connector 144">
            <a:extLst>
              <a:ext uri="{FF2B5EF4-FFF2-40B4-BE49-F238E27FC236}">
                <a16:creationId xmlns:a16="http://schemas.microsoft.com/office/drawing/2014/main" id="{ED6A9C6A-E97C-A493-0596-7782B583073A}"/>
              </a:ext>
            </a:extLst>
          </p:cNvPr>
          <p:cNvCxnSpPr>
            <a:cxnSpLocks noChangeShapeType="1"/>
          </p:cNvCxnSpPr>
          <p:nvPr/>
        </p:nvCxnSpPr>
        <p:spPr bwMode="auto">
          <a:xfrm flipV="1">
            <a:off x="7847013" y="3358755"/>
            <a:ext cx="231775" cy="282970"/>
          </a:xfrm>
          <a:prstGeom prst="straightConnector1">
            <a:avLst/>
          </a:prstGeom>
          <a:noFill/>
          <a:ln w="25400" algn="ctr">
            <a:solidFill>
              <a:schemeClr val="tx1"/>
            </a:solidFill>
            <a:round/>
            <a:headEnd/>
            <a:tailEnd type="arrow" w="med" len="med"/>
          </a:ln>
          <a:extLst>
            <a:ext uri="{909E8E84-426E-40DD-AFC4-6F175D3DCCD1}">
              <a14:hiddenFill xmlns:a14="http://schemas.microsoft.com/office/drawing/2010/main">
                <a:noFill/>
              </a14:hiddenFill>
            </a:ext>
          </a:extLst>
        </p:spPr>
      </p:cxnSp>
      <p:sp>
        <p:nvSpPr>
          <p:cNvPr id="6" name="TextBox 44">
            <a:extLst>
              <a:ext uri="{FF2B5EF4-FFF2-40B4-BE49-F238E27FC236}">
                <a16:creationId xmlns:a16="http://schemas.microsoft.com/office/drawing/2014/main" id="{88E00895-3E47-6509-9D34-963B7E81F0D9}"/>
              </a:ext>
            </a:extLst>
          </p:cNvPr>
          <p:cNvSpPr txBox="1">
            <a:spLocks noChangeArrowheads="1"/>
          </p:cNvSpPr>
          <p:nvPr/>
        </p:nvSpPr>
        <p:spPr bwMode="auto">
          <a:xfrm>
            <a:off x="7693821" y="3024981"/>
            <a:ext cx="1500187"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2400">
                <a:solidFill>
                  <a:srgbClr val="0000FF"/>
                </a:solidFill>
                <a:latin typeface="Tahoma" panose="020B0604030504040204" pitchFamily="34" charset="0"/>
              </a:defRPr>
            </a:lvl1pPr>
            <a:lvl2pPr marL="742950" indent="-285750">
              <a:defRPr sz="2400">
                <a:solidFill>
                  <a:srgbClr val="0000FF"/>
                </a:solidFill>
                <a:latin typeface="Tahoma" panose="020B0604030504040204" pitchFamily="34" charset="0"/>
              </a:defRPr>
            </a:lvl2pPr>
            <a:lvl3pPr marL="1143000" indent="-228600">
              <a:defRPr sz="2400">
                <a:solidFill>
                  <a:srgbClr val="0000FF"/>
                </a:solidFill>
                <a:latin typeface="Tahoma" panose="020B0604030504040204" pitchFamily="34" charset="0"/>
              </a:defRPr>
            </a:lvl3pPr>
            <a:lvl4pPr marL="1600200" indent="-228600">
              <a:defRPr sz="2400">
                <a:solidFill>
                  <a:srgbClr val="0000FF"/>
                </a:solidFill>
                <a:latin typeface="Tahoma" panose="020B0604030504040204" pitchFamily="34" charset="0"/>
              </a:defRPr>
            </a:lvl4pPr>
            <a:lvl5pPr marL="2057400" indent="-228600">
              <a:defRPr sz="2400">
                <a:solidFill>
                  <a:srgbClr val="0000FF"/>
                </a:solidFill>
                <a:latin typeface="Tahoma" panose="020B0604030504040204" pitchFamily="34" charset="0"/>
              </a:defRPr>
            </a:lvl5pPr>
            <a:lvl6pPr marL="2514600" indent="-228600" algn="ctr" eaLnBrk="0" fontAlgn="base" hangingPunct="0">
              <a:spcBef>
                <a:spcPct val="0"/>
              </a:spcBef>
              <a:spcAft>
                <a:spcPct val="0"/>
              </a:spcAft>
              <a:defRPr sz="2400">
                <a:solidFill>
                  <a:srgbClr val="0000FF"/>
                </a:solidFill>
                <a:latin typeface="Tahoma" panose="020B0604030504040204" pitchFamily="34" charset="0"/>
              </a:defRPr>
            </a:lvl6pPr>
            <a:lvl7pPr marL="2971800" indent="-228600" algn="ctr" eaLnBrk="0" fontAlgn="base" hangingPunct="0">
              <a:spcBef>
                <a:spcPct val="0"/>
              </a:spcBef>
              <a:spcAft>
                <a:spcPct val="0"/>
              </a:spcAft>
              <a:defRPr sz="2400">
                <a:solidFill>
                  <a:srgbClr val="0000FF"/>
                </a:solidFill>
                <a:latin typeface="Tahoma" panose="020B0604030504040204" pitchFamily="34" charset="0"/>
              </a:defRPr>
            </a:lvl7pPr>
            <a:lvl8pPr marL="3429000" indent="-228600" algn="ctr" eaLnBrk="0" fontAlgn="base" hangingPunct="0">
              <a:spcBef>
                <a:spcPct val="0"/>
              </a:spcBef>
              <a:spcAft>
                <a:spcPct val="0"/>
              </a:spcAft>
              <a:defRPr sz="2400">
                <a:solidFill>
                  <a:srgbClr val="0000FF"/>
                </a:solidFill>
                <a:latin typeface="Tahoma" panose="020B0604030504040204" pitchFamily="34" charset="0"/>
              </a:defRPr>
            </a:lvl8pPr>
            <a:lvl9pPr marL="3886200" indent="-228600" algn="ctr" eaLnBrk="0" fontAlgn="base" hangingPunct="0">
              <a:spcBef>
                <a:spcPct val="0"/>
              </a:spcBef>
              <a:spcAft>
                <a:spcPct val="0"/>
              </a:spcAft>
              <a:defRPr sz="2400">
                <a:solidFill>
                  <a:srgbClr val="0000FF"/>
                </a:solidFill>
                <a:latin typeface="Tahoma" panose="020B0604030504040204" pitchFamily="34" charset="0"/>
              </a:defRPr>
            </a:lvl9pPr>
          </a:lstStyle>
          <a:p>
            <a:r>
              <a:rPr lang="en-GB" altLang="en-US" sz="1400" dirty="0"/>
              <a:t>LOPA</a:t>
            </a:r>
          </a:p>
        </p:txBody>
      </p:sp>
      <p:sp>
        <p:nvSpPr>
          <p:cNvPr id="7" name="TextBox 44">
            <a:extLst>
              <a:ext uri="{FF2B5EF4-FFF2-40B4-BE49-F238E27FC236}">
                <a16:creationId xmlns:a16="http://schemas.microsoft.com/office/drawing/2014/main" id="{3C690BE6-112D-71C0-7C5E-2255647B48F5}"/>
              </a:ext>
            </a:extLst>
          </p:cNvPr>
          <p:cNvSpPr txBox="1">
            <a:spLocks noChangeArrowheads="1"/>
          </p:cNvSpPr>
          <p:nvPr/>
        </p:nvSpPr>
        <p:spPr bwMode="auto">
          <a:xfrm>
            <a:off x="10489407" y="1014731"/>
            <a:ext cx="1500187"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2400">
                <a:solidFill>
                  <a:srgbClr val="0000FF"/>
                </a:solidFill>
                <a:latin typeface="Tahoma" panose="020B0604030504040204" pitchFamily="34" charset="0"/>
              </a:defRPr>
            </a:lvl1pPr>
            <a:lvl2pPr marL="742950" indent="-285750">
              <a:defRPr sz="2400">
                <a:solidFill>
                  <a:srgbClr val="0000FF"/>
                </a:solidFill>
                <a:latin typeface="Tahoma" panose="020B0604030504040204" pitchFamily="34" charset="0"/>
              </a:defRPr>
            </a:lvl2pPr>
            <a:lvl3pPr marL="1143000" indent="-228600">
              <a:defRPr sz="2400">
                <a:solidFill>
                  <a:srgbClr val="0000FF"/>
                </a:solidFill>
                <a:latin typeface="Tahoma" panose="020B0604030504040204" pitchFamily="34" charset="0"/>
              </a:defRPr>
            </a:lvl3pPr>
            <a:lvl4pPr marL="1600200" indent="-228600">
              <a:defRPr sz="2400">
                <a:solidFill>
                  <a:srgbClr val="0000FF"/>
                </a:solidFill>
                <a:latin typeface="Tahoma" panose="020B0604030504040204" pitchFamily="34" charset="0"/>
              </a:defRPr>
            </a:lvl4pPr>
            <a:lvl5pPr marL="2057400" indent="-228600">
              <a:defRPr sz="2400">
                <a:solidFill>
                  <a:srgbClr val="0000FF"/>
                </a:solidFill>
                <a:latin typeface="Tahoma" panose="020B0604030504040204" pitchFamily="34" charset="0"/>
              </a:defRPr>
            </a:lvl5pPr>
            <a:lvl6pPr marL="2514600" indent="-228600" algn="ctr" eaLnBrk="0" fontAlgn="base" hangingPunct="0">
              <a:spcBef>
                <a:spcPct val="0"/>
              </a:spcBef>
              <a:spcAft>
                <a:spcPct val="0"/>
              </a:spcAft>
              <a:defRPr sz="2400">
                <a:solidFill>
                  <a:srgbClr val="0000FF"/>
                </a:solidFill>
                <a:latin typeface="Tahoma" panose="020B0604030504040204" pitchFamily="34" charset="0"/>
              </a:defRPr>
            </a:lvl6pPr>
            <a:lvl7pPr marL="2971800" indent="-228600" algn="ctr" eaLnBrk="0" fontAlgn="base" hangingPunct="0">
              <a:spcBef>
                <a:spcPct val="0"/>
              </a:spcBef>
              <a:spcAft>
                <a:spcPct val="0"/>
              </a:spcAft>
              <a:defRPr sz="2400">
                <a:solidFill>
                  <a:srgbClr val="0000FF"/>
                </a:solidFill>
                <a:latin typeface="Tahoma" panose="020B0604030504040204" pitchFamily="34" charset="0"/>
              </a:defRPr>
            </a:lvl7pPr>
            <a:lvl8pPr marL="3429000" indent="-228600" algn="ctr" eaLnBrk="0" fontAlgn="base" hangingPunct="0">
              <a:spcBef>
                <a:spcPct val="0"/>
              </a:spcBef>
              <a:spcAft>
                <a:spcPct val="0"/>
              </a:spcAft>
              <a:defRPr sz="2400">
                <a:solidFill>
                  <a:srgbClr val="0000FF"/>
                </a:solidFill>
                <a:latin typeface="Tahoma" panose="020B0604030504040204" pitchFamily="34" charset="0"/>
              </a:defRPr>
            </a:lvl8pPr>
            <a:lvl9pPr marL="3886200" indent="-228600" algn="ctr" eaLnBrk="0" fontAlgn="base" hangingPunct="0">
              <a:spcBef>
                <a:spcPct val="0"/>
              </a:spcBef>
              <a:spcAft>
                <a:spcPct val="0"/>
              </a:spcAft>
              <a:defRPr sz="2400">
                <a:solidFill>
                  <a:srgbClr val="0000FF"/>
                </a:solidFill>
                <a:latin typeface="Tahoma" panose="020B0604030504040204" pitchFamily="34" charset="0"/>
              </a:defRPr>
            </a:lvl9pPr>
          </a:lstStyle>
          <a:p>
            <a:r>
              <a:rPr lang="en-GB" altLang="en-US" sz="1400" dirty="0"/>
              <a:t>Written Scheme of examination</a:t>
            </a:r>
          </a:p>
        </p:txBody>
      </p:sp>
      <p:sp>
        <p:nvSpPr>
          <p:cNvPr id="8" name="TextBox 44">
            <a:extLst>
              <a:ext uri="{FF2B5EF4-FFF2-40B4-BE49-F238E27FC236}">
                <a16:creationId xmlns:a16="http://schemas.microsoft.com/office/drawing/2014/main" id="{9B4DE91A-3420-355A-3A89-B0701425391A}"/>
              </a:ext>
            </a:extLst>
          </p:cNvPr>
          <p:cNvSpPr txBox="1">
            <a:spLocks noChangeArrowheads="1"/>
          </p:cNvSpPr>
          <p:nvPr/>
        </p:nvSpPr>
        <p:spPr bwMode="auto">
          <a:xfrm>
            <a:off x="2345531" y="1858963"/>
            <a:ext cx="1500187"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2400">
                <a:solidFill>
                  <a:srgbClr val="0000FF"/>
                </a:solidFill>
                <a:latin typeface="Tahoma" panose="020B0604030504040204" pitchFamily="34" charset="0"/>
              </a:defRPr>
            </a:lvl1pPr>
            <a:lvl2pPr marL="742950" indent="-285750">
              <a:defRPr sz="2400">
                <a:solidFill>
                  <a:srgbClr val="0000FF"/>
                </a:solidFill>
                <a:latin typeface="Tahoma" panose="020B0604030504040204" pitchFamily="34" charset="0"/>
              </a:defRPr>
            </a:lvl2pPr>
            <a:lvl3pPr marL="1143000" indent="-228600">
              <a:defRPr sz="2400">
                <a:solidFill>
                  <a:srgbClr val="0000FF"/>
                </a:solidFill>
                <a:latin typeface="Tahoma" panose="020B0604030504040204" pitchFamily="34" charset="0"/>
              </a:defRPr>
            </a:lvl3pPr>
            <a:lvl4pPr marL="1600200" indent="-228600">
              <a:defRPr sz="2400">
                <a:solidFill>
                  <a:srgbClr val="0000FF"/>
                </a:solidFill>
                <a:latin typeface="Tahoma" panose="020B0604030504040204" pitchFamily="34" charset="0"/>
              </a:defRPr>
            </a:lvl4pPr>
            <a:lvl5pPr marL="2057400" indent="-228600">
              <a:defRPr sz="2400">
                <a:solidFill>
                  <a:srgbClr val="0000FF"/>
                </a:solidFill>
                <a:latin typeface="Tahoma" panose="020B0604030504040204" pitchFamily="34" charset="0"/>
              </a:defRPr>
            </a:lvl5pPr>
            <a:lvl6pPr marL="2514600" indent="-228600" algn="ctr" eaLnBrk="0" fontAlgn="base" hangingPunct="0">
              <a:spcBef>
                <a:spcPct val="0"/>
              </a:spcBef>
              <a:spcAft>
                <a:spcPct val="0"/>
              </a:spcAft>
              <a:defRPr sz="2400">
                <a:solidFill>
                  <a:srgbClr val="0000FF"/>
                </a:solidFill>
                <a:latin typeface="Tahoma" panose="020B0604030504040204" pitchFamily="34" charset="0"/>
              </a:defRPr>
            </a:lvl6pPr>
            <a:lvl7pPr marL="2971800" indent="-228600" algn="ctr" eaLnBrk="0" fontAlgn="base" hangingPunct="0">
              <a:spcBef>
                <a:spcPct val="0"/>
              </a:spcBef>
              <a:spcAft>
                <a:spcPct val="0"/>
              </a:spcAft>
              <a:defRPr sz="2400">
                <a:solidFill>
                  <a:srgbClr val="0000FF"/>
                </a:solidFill>
                <a:latin typeface="Tahoma" panose="020B0604030504040204" pitchFamily="34" charset="0"/>
              </a:defRPr>
            </a:lvl7pPr>
            <a:lvl8pPr marL="3429000" indent="-228600" algn="ctr" eaLnBrk="0" fontAlgn="base" hangingPunct="0">
              <a:spcBef>
                <a:spcPct val="0"/>
              </a:spcBef>
              <a:spcAft>
                <a:spcPct val="0"/>
              </a:spcAft>
              <a:defRPr sz="2400">
                <a:solidFill>
                  <a:srgbClr val="0000FF"/>
                </a:solidFill>
                <a:latin typeface="Tahoma" panose="020B0604030504040204" pitchFamily="34" charset="0"/>
              </a:defRPr>
            </a:lvl8pPr>
            <a:lvl9pPr marL="3886200" indent="-228600" algn="ctr" eaLnBrk="0" fontAlgn="base" hangingPunct="0">
              <a:spcBef>
                <a:spcPct val="0"/>
              </a:spcBef>
              <a:spcAft>
                <a:spcPct val="0"/>
              </a:spcAft>
              <a:defRPr sz="2400">
                <a:solidFill>
                  <a:srgbClr val="0000FF"/>
                </a:solidFill>
                <a:latin typeface="Tahoma" panose="020B0604030504040204" pitchFamily="34" charset="0"/>
              </a:defRPr>
            </a:lvl9pPr>
          </a:lstStyle>
          <a:p>
            <a:r>
              <a:rPr lang="en-GB" altLang="en-US" sz="1400" dirty="0"/>
              <a:t>Permit to Work</a:t>
            </a:r>
          </a:p>
        </p:txBody>
      </p:sp>
      <p:sp>
        <p:nvSpPr>
          <p:cNvPr id="14" name="TextBox 44">
            <a:extLst>
              <a:ext uri="{FF2B5EF4-FFF2-40B4-BE49-F238E27FC236}">
                <a16:creationId xmlns:a16="http://schemas.microsoft.com/office/drawing/2014/main" id="{3CACF19F-9F98-7F43-92B1-360095D03EA4}"/>
              </a:ext>
            </a:extLst>
          </p:cNvPr>
          <p:cNvSpPr txBox="1">
            <a:spLocks noChangeArrowheads="1"/>
          </p:cNvSpPr>
          <p:nvPr/>
        </p:nvSpPr>
        <p:spPr bwMode="auto">
          <a:xfrm>
            <a:off x="6131720" y="192086"/>
            <a:ext cx="1500187"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2400">
                <a:solidFill>
                  <a:srgbClr val="0000FF"/>
                </a:solidFill>
                <a:latin typeface="Tahoma" panose="020B0604030504040204" pitchFamily="34" charset="0"/>
              </a:defRPr>
            </a:lvl1pPr>
            <a:lvl2pPr marL="742950" indent="-285750">
              <a:defRPr sz="2400">
                <a:solidFill>
                  <a:srgbClr val="0000FF"/>
                </a:solidFill>
                <a:latin typeface="Tahoma" panose="020B0604030504040204" pitchFamily="34" charset="0"/>
              </a:defRPr>
            </a:lvl2pPr>
            <a:lvl3pPr marL="1143000" indent="-228600">
              <a:defRPr sz="2400">
                <a:solidFill>
                  <a:srgbClr val="0000FF"/>
                </a:solidFill>
                <a:latin typeface="Tahoma" panose="020B0604030504040204" pitchFamily="34" charset="0"/>
              </a:defRPr>
            </a:lvl3pPr>
            <a:lvl4pPr marL="1600200" indent="-228600">
              <a:defRPr sz="2400">
                <a:solidFill>
                  <a:srgbClr val="0000FF"/>
                </a:solidFill>
                <a:latin typeface="Tahoma" panose="020B0604030504040204" pitchFamily="34" charset="0"/>
              </a:defRPr>
            </a:lvl4pPr>
            <a:lvl5pPr marL="2057400" indent="-228600">
              <a:defRPr sz="2400">
                <a:solidFill>
                  <a:srgbClr val="0000FF"/>
                </a:solidFill>
                <a:latin typeface="Tahoma" panose="020B0604030504040204" pitchFamily="34" charset="0"/>
              </a:defRPr>
            </a:lvl5pPr>
            <a:lvl6pPr marL="2514600" indent="-228600" algn="ctr" eaLnBrk="0" fontAlgn="base" hangingPunct="0">
              <a:spcBef>
                <a:spcPct val="0"/>
              </a:spcBef>
              <a:spcAft>
                <a:spcPct val="0"/>
              </a:spcAft>
              <a:defRPr sz="2400">
                <a:solidFill>
                  <a:srgbClr val="0000FF"/>
                </a:solidFill>
                <a:latin typeface="Tahoma" panose="020B0604030504040204" pitchFamily="34" charset="0"/>
              </a:defRPr>
            </a:lvl6pPr>
            <a:lvl7pPr marL="2971800" indent="-228600" algn="ctr" eaLnBrk="0" fontAlgn="base" hangingPunct="0">
              <a:spcBef>
                <a:spcPct val="0"/>
              </a:spcBef>
              <a:spcAft>
                <a:spcPct val="0"/>
              </a:spcAft>
              <a:defRPr sz="2400">
                <a:solidFill>
                  <a:srgbClr val="0000FF"/>
                </a:solidFill>
                <a:latin typeface="Tahoma" panose="020B0604030504040204" pitchFamily="34" charset="0"/>
              </a:defRPr>
            </a:lvl7pPr>
            <a:lvl8pPr marL="3429000" indent="-228600" algn="ctr" eaLnBrk="0" fontAlgn="base" hangingPunct="0">
              <a:spcBef>
                <a:spcPct val="0"/>
              </a:spcBef>
              <a:spcAft>
                <a:spcPct val="0"/>
              </a:spcAft>
              <a:defRPr sz="2400">
                <a:solidFill>
                  <a:srgbClr val="0000FF"/>
                </a:solidFill>
                <a:latin typeface="Tahoma" panose="020B0604030504040204" pitchFamily="34" charset="0"/>
              </a:defRPr>
            </a:lvl8pPr>
            <a:lvl9pPr marL="3886200" indent="-228600" algn="ctr" eaLnBrk="0" fontAlgn="base" hangingPunct="0">
              <a:spcBef>
                <a:spcPct val="0"/>
              </a:spcBef>
              <a:spcAft>
                <a:spcPct val="0"/>
              </a:spcAft>
              <a:defRPr sz="2400">
                <a:solidFill>
                  <a:srgbClr val="0000FF"/>
                </a:solidFill>
                <a:latin typeface="Tahoma" panose="020B0604030504040204" pitchFamily="34" charset="0"/>
              </a:defRPr>
            </a:lvl9pPr>
          </a:lstStyle>
          <a:p>
            <a:r>
              <a:rPr lang="en-GB" altLang="en-US" sz="1400" dirty="0"/>
              <a:t>Safety Critical Procedures </a:t>
            </a:r>
          </a:p>
        </p:txBody>
      </p:sp>
      <p:cxnSp>
        <p:nvCxnSpPr>
          <p:cNvPr id="15" name="Straight Arrow Connector 144">
            <a:extLst>
              <a:ext uri="{FF2B5EF4-FFF2-40B4-BE49-F238E27FC236}">
                <a16:creationId xmlns:a16="http://schemas.microsoft.com/office/drawing/2014/main" id="{23A80C4C-3B39-5B6A-29B7-6861C12144A2}"/>
              </a:ext>
            </a:extLst>
          </p:cNvPr>
          <p:cNvCxnSpPr>
            <a:cxnSpLocks noChangeShapeType="1"/>
          </p:cNvCxnSpPr>
          <p:nvPr/>
        </p:nvCxnSpPr>
        <p:spPr bwMode="auto">
          <a:xfrm flipV="1">
            <a:off x="10118396" y="1291111"/>
            <a:ext cx="408650" cy="39911"/>
          </a:xfrm>
          <a:prstGeom prst="straightConnector1">
            <a:avLst/>
          </a:prstGeom>
          <a:noFill/>
          <a:ln w="25400" algn="ctr">
            <a:solidFill>
              <a:schemeClr val="tx1"/>
            </a:solidFill>
            <a:round/>
            <a:headEnd/>
            <a:tailEnd type="arrow" w="med" len="med"/>
          </a:ln>
          <a:extLst>
            <a:ext uri="{909E8E84-426E-40DD-AFC4-6F175D3DCCD1}">
              <a14:hiddenFill xmlns:a14="http://schemas.microsoft.com/office/drawing/2010/main">
                <a:noFill/>
              </a14:hiddenFill>
            </a:ext>
          </a:extLst>
        </p:spPr>
      </p:cxnSp>
      <p:cxnSp>
        <p:nvCxnSpPr>
          <p:cNvPr id="16" name="Straight Arrow Connector 144">
            <a:extLst>
              <a:ext uri="{FF2B5EF4-FFF2-40B4-BE49-F238E27FC236}">
                <a16:creationId xmlns:a16="http://schemas.microsoft.com/office/drawing/2014/main" id="{32432A90-AB02-679F-BE6B-7C45173CDDEA}"/>
              </a:ext>
            </a:extLst>
          </p:cNvPr>
          <p:cNvCxnSpPr>
            <a:cxnSpLocks noChangeShapeType="1"/>
          </p:cNvCxnSpPr>
          <p:nvPr/>
        </p:nvCxnSpPr>
        <p:spPr bwMode="auto">
          <a:xfrm flipH="1">
            <a:off x="3024187" y="1604428"/>
            <a:ext cx="268288" cy="286486"/>
          </a:xfrm>
          <a:prstGeom prst="straightConnector1">
            <a:avLst/>
          </a:prstGeom>
          <a:noFill/>
          <a:ln w="25400" algn="ctr">
            <a:solidFill>
              <a:schemeClr val="tx1"/>
            </a:solidFill>
            <a:round/>
            <a:headEnd/>
            <a:tailEnd type="arrow" w="med" len="med"/>
          </a:ln>
          <a:extLst>
            <a:ext uri="{909E8E84-426E-40DD-AFC4-6F175D3DCCD1}">
              <a14:hiddenFill xmlns:a14="http://schemas.microsoft.com/office/drawing/2010/main">
                <a:noFill/>
              </a14:hiddenFill>
            </a:ext>
          </a:extLst>
        </p:spPr>
      </p:cxnSp>
      <p:cxnSp>
        <p:nvCxnSpPr>
          <p:cNvPr id="17" name="Straight Arrow Connector 144">
            <a:extLst>
              <a:ext uri="{FF2B5EF4-FFF2-40B4-BE49-F238E27FC236}">
                <a16:creationId xmlns:a16="http://schemas.microsoft.com/office/drawing/2014/main" id="{D3BD4810-3EC0-012F-590C-D9E942BB3E16}"/>
              </a:ext>
            </a:extLst>
          </p:cNvPr>
          <p:cNvCxnSpPr>
            <a:cxnSpLocks noChangeShapeType="1"/>
          </p:cNvCxnSpPr>
          <p:nvPr/>
        </p:nvCxnSpPr>
        <p:spPr bwMode="auto">
          <a:xfrm flipV="1">
            <a:off x="6623051" y="714375"/>
            <a:ext cx="0" cy="343235"/>
          </a:xfrm>
          <a:prstGeom prst="straightConnector1">
            <a:avLst/>
          </a:prstGeom>
          <a:noFill/>
          <a:ln w="25400" algn="ctr">
            <a:solidFill>
              <a:schemeClr val="tx1"/>
            </a:solidFill>
            <a:round/>
            <a:headEnd/>
            <a:tailEnd type="arrow" w="med" len="med"/>
          </a:ln>
          <a:extLst>
            <a:ext uri="{909E8E84-426E-40DD-AFC4-6F175D3DCCD1}">
              <a14:hiddenFill xmlns:a14="http://schemas.microsoft.com/office/drawing/2010/main">
                <a:noFill/>
              </a14:hiddenFill>
            </a:ext>
          </a:extLst>
        </p:spPr>
      </p:cxnSp>
      <p:cxnSp>
        <p:nvCxnSpPr>
          <p:cNvPr id="22" name="Straight Arrow Connector 49">
            <a:extLst>
              <a:ext uri="{FF2B5EF4-FFF2-40B4-BE49-F238E27FC236}">
                <a16:creationId xmlns:a16="http://schemas.microsoft.com/office/drawing/2014/main" id="{8385B117-E897-8014-8942-9F2E0BE30B82}"/>
              </a:ext>
            </a:extLst>
          </p:cNvPr>
          <p:cNvCxnSpPr>
            <a:cxnSpLocks noChangeShapeType="1"/>
          </p:cNvCxnSpPr>
          <p:nvPr/>
        </p:nvCxnSpPr>
        <p:spPr bwMode="auto">
          <a:xfrm flipH="1">
            <a:off x="6844109" y="4642854"/>
            <a:ext cx="308769" cy="163100"/>
          </a:xfrm>
          <a:prstGeom prst="straightConnector1">
            <a:avLst/>
          </a:prstGeom>
          <a:noFill/>
          <a:ln w="25400" algn="ctr">
            <a:solidFill>
              <a:schemeClr val="tx1"/>
            </a:solidFill>
            <a:round/>
            <a:headEnd/>
            <a:tailEnd type="arrow" w="med" len="med"/>
          </a:ln>
          <a:extLst>
            <a:ext uri="{909E8E84-426E-40DD-AFC4-6F175D3DCCD1}">
              <a14:hiddenFill xmlns:a14="http://schemas.microsoft.com/office/drawing/2010/main">
                <a:noFill/>
              </a14:hiddenFill>
            </a:ext>
          </a:extLst>
        </p:spPr>
      </p:cxnSp>
      <p:sp>
        <p:nvSpPr>
          <p:cNvPr id="24" name="TextBox 44">
            <a:extLst>
              <a:ext uri="{FF2B5EF4-FFF2-40B4-BE49-F238E27FC236}">
                <a16:creationId xmlns:a16="http://schemas.microsoft.com/office/drawing/2014/main" id="{F168302B-2E7C-82B8-2520-9AB707DAD265}"/>
              </a:ext>
            </a:extLst>
          </p:cNvPr>
          <p:cNvSpPr txBox="1">
            <a:spLocks noChangeArrowheads="1"/>
          </p:cNvSpPr>
          <p:nvPr/>
        </p:nvSpPr>
        <p:spPr bwMode="auto">
          <a:xfrm rot="895912">
            <a:off x="6112321" y="4775298"/>
            <a:ext cx="1500187"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2400">
                <a:solidFill>
                  <a:srgbClr val="0000FF"/>
                </a:solidFill>
                <a:latin typeface="Tahoma" panose="020B0604030504040204" pitchFamily="34" charset="0"/>
              </a:defRPr>
            </a:lvl1pPr>
            <a:lvl2pPr marL="742950" indent="-285750">
              <a:defRPr sz="2400">
                <a:solidFill>
                  <a:srgbClr val="0000FF"/>
                </a:solidFill>
                <a:latin typeface="Tahoma" panose="020B0604030504040204" pitchFamily="34" charset="0"/>
              </a:defRPr>
            </a:lvl2pPr>
            <a:lvl3pPr marL="1143000" indent="-228600">
              <a:defRPr sz="2400">
                <a:solidFill>
                  <a:srgbClr val="0000FF"/>
                </a:solidFill>
                <a:latin typeface="Tahoma" panose="020B0604030504040204" pitchFamily="34" charset="0"/>
              </a:defRPr>
            </a:lvl3pPr>
            <a:lvl4pPr marL="1600200" indent="-228600">
              <a:defRPr sz="2400">
                <a:solidFill>
                  <a:srgbClr val="0000FF"/>
                </a:solidFill>
                <a:latin typeface="Tahoma" panose="020B0604030504040204" pitchFamily="34" charset="0"/>
              </a:defRPr>
            </a:lvl4pPr>
            <a:lvl5pPr marL="2057400" indent="-228600">
              <a:defRPr sz="2400">
                <a:solidFill>
                  <a:srgbClr val="0000FF"/>
                </a:solidFill>
                <a:latin typeface="Tahoma" panose="020B0604030504040204" pitchFamily="34" charset="0"/>
              </a:defRPr>
            </a:lvl5pPr>
            <a:lvl6pPr marL="2514600" indent="-228600" algn="ctr" eaLnBrk="0" fontAlgn="base" hangingPunct="0">
              <a:spcBef>
                <a:spcPct val="0"/>
              </a:spcBef>
              <a:spcAft>
                <a:spcPct val="0"/>
              </a:spcAft>
              <a:defRPr sz="2400">
                <a:solidFill>
                  <a:srgbClr val="0000FF"/>
                </a:solidFill>
                <a:latin typeface="Tahoma" panose="020B0604030504040204" pitchFamily="34" charset="0"/>
              </a:defRPr>
            </a:lvl6pPr>
            <a:lvl7pPr marL="2971800" indent="-228600" algn="ctr" eaLnBrk="0" fontAlgn="base" hangingPunct="0">
              <a:spcBef>
                <a:spcPct val="0"/>
              </a:spcBef>
              <a:spcAft>
                <a:spcPct val="0"/>
              </a:spcAft>
              <a:defRPr sz="2400">
                <a:solidFill>
                  <a:srgbClr val="0000FF"/>
                </a:solidFill>
                <a:latin typeface="Tahoma" panose="020B0604030504040204" pitchFamily="34" charset="0"/>
              </a:defRPr>
            </a:lvl7pPr>
            <a:lvl8pPr marL="3429000" indent="-228600" algn="ctr" eaLnBrk="0" fontAlgn="base" hangingPunct="0">
              <a:spcBef>
                <a:spcPct val="0"/>
              </a:spcBef>
              <a:spcAft>
                <a:spcPct val="0"/>
              </a:spcAft>
              <a:defRPr sz="2400">
                <a:solidFill>
                  <a:srgbClr val="0000FF"/>
                </a:solidFill>
                <a:latin typeface="Tahoma" panose="020B0604030504040204" pitchFamily="34" charset="0"/>
              </a:defRPr>
            </a:lvl8pPr>
            <a:lvl9pPr marL="3886200" indent="-228600" algn="ctr" eaLnBrk="0" fontAlgn="base" hangingPunct="0">
              <a:spcBef>
                <a:spcPct val="0"/>
              </a:spcBef>
              <a:spcAft>
                <a:spcPct val="0"/>
              </a:spcAft>
              <a:defRPr sz="2400">
                <a:solidFill>
                  <a:srgbClr val="0000FF"/>
                </a:solidFill>
                <a:latin typeface="Tahoma" panose="020B0604030504040204" pitchFamily="34" charset="0"/>
              </a:defRPr>
            </a:lvl9pPr>
          </a:lstStyle>
          <a:p>
            <a:r>
              <a:rPr lang="en-GB" altLang="en-US" sz="1400" dirty="0"/>
              <a:t>       MOC</a:t>
            </a:r>
          </a:p>
        </p:txBody>
      </p:sp>
      <p:cxnSp>
        <p:nvCxnSpPr>
          <p:cNvPr id="4" name="Straight Arrow Connector 144">
            <a:extLst>
              <a:ext uri="{FF2B5EF4-FFF2-40B4-BE49-F238E27FC236}">
                <a16:creationId xmlns:a16="http://schemas.microsoft.com/office/drawing/2014/main" id="{91546136-C8E5-94C6-3706-8C59F7407D43}"/>
              </a:ext>
            </a:extLst>
          </p:cNvPr>
          <p:cNvCxnSpPr>
            <a:cxnSpLocks noChangeShapeType="1"/>
            <a:endCxn id="26" idx="1"/>
          </p:cNvCxnSpPr>
          <p:nvPr/>
        </p:nvCxnSpPr>
        <p:spPr bwMode="auto">
          <a:xfrm>
            <a:off x="10175828" y="1820975"/>
            <a:ext cx="409281" cy="98770"/>
          </a:xfrm>
          <a:prstGeom prst="straightConnector1">
            <a:avLst/>
          </a:prstGeom>
          <a:noFill/>
          <a:ln w="25400" algn="ctr">
            <a:solidFill>
              <a:schemeClr val="tx1"/>
            </a:solidFill>
            <a:round/>
            <a:headEnd/>
            <a:tailEnd type="arrow" w="med" len="med"/>
          </a:ln>
          <a:extLst>
            <a:ext uri="{909E8E84-426E-40DD-AFC4-6F175D3DCCD1}">
              <a14:hiddenFill xmlns:a14="http://schemas.microsoft.com/office/drawing/2010/main">
                <a:noFill/>
              </a14:hiddenFill>
            </a:ext>
          </a:extLst>
        </p:spPr>
      </p:cxnSp>
      <p:cxnSp>
        <p:nvCxnSpPr>
          <p:cNvPr id="5" name="Straight Arrow Connector 144">
            <a:extLst>
              <a:ext uri="{FF2B5EF4-FFF2-40B4-BE49-F238E27FC236}">
                <a16:creationId xmlns:a16="http://schemas.microsoft.com/office/drawing/2014/main" id="{986A45FC-20BA-E132-8639-C4DA0CD2E6D3}"/>
              </a:ext>
            </a:extLst>
          </p:cNvPr>
          <p:cNvCxnSpPr>
            <a:cxnSpLocks noChangeShapeType="1"/>
            <a:stCxn id="12" idx="3"/>
          </p:cNvCxnSpPr>
          <p:nvPr/>
        </p:nvCxnSpPr>
        <p:spPr bwMode="auto">
          <a:xfrm flipH="1">
            <a:off x="4855394" y="6169627"/>
            <a:ext cx="237200" cy="222117"/>
          </a:xfrm>
          <a:prstGeom prst="straightConnector1">
            <a:avLst/>
          </a:prstGeom>
          <a:noFill/>
          <a:ln w="25400" algn="ctr">
            <a:solidFill>
              <a:schemeClr val="tx1"/>
            </a:solidFill>
            <a:round/>
            <a:headEnd/>
            <a:tailEnd type="arrow" w="med" len="med"/>
          </a:ln>
          <a:extLst>
            <a:ext uri="{909E8E84-426E-40DD-AFC4-6F175D3DCCD1}">
              <a14:hiddenFill xmlns:a14="http://schemas.microsoft.com/office/drawing/2010/main">
                <a:noFill/>
              </a14:hiddenFill>
            </a:ext>
          </a:extLst>
        </p:spPr>
      </p:cxnSp>
      <p:cxnSp>
        <p:nvCxnSpPr>
          <p:cNvPr id="18" name="Straight Arrow Connector 144">
            <a:extLst>
              <a:ext uri="{FF2B5EF4-FFF2-40B4-BE49-F238E27FC236}">
                <a16:creationId xmlns:a16="http://schemas.microsoft.com/office/drawing/2014/main" id="{C09AC10D-5DC6-21FB-1330-D472D58A8BCE}"/>
              </a:ext>
            </a:extLst>
          </p:cNvPr>
          <p:cNvCxnSpPr>
            <a:cxnSpLocks noChangeShapeType="1"/>
          </p:cNvCxnSpPr>
          <p:nvPr/>
        </p:nvCxnSpPr>
        <p:spPr bwMode="auto">
          <a:xfrm>
            <a:off x="9628162" y="2170779"/>
            <a:ext cx="1314" cy="338404"/>
          </a:xfrm>
          <a:prstGeom prst="straightConnector1">
            <a:avLst/>
          </a:prstGeom>
          <a:noFill/>
          <a:ln w="25400" algn="ctr">
            <a:solidFill>
              <a:schemeClr val="tx1"/>
            </a:solidFill>
            <a:round/>
            <a:headEnd/>
            <a:tailEnd type="arrow" w="med" len="med"/>
          </a:ln>
          <a:extLst>
            <a:ext uri="{909E8E84-426E-40DD-AFC4-6F175D3DCCD1}">
              <a14:hiddenFill xmlns:a14="http://schemas.microsoft.com/office/drawing/2010/main">
                <a:noFill/>
              </a14:hiddenFill>
            </a:ext>
          </a:extLst>
        </p:spPr>
      </p:cxnSp>
      <p:cxnSp>
        <p:nvCxnSpPr>
          <p:cNvPr id="20" name="Straight Arrow Connector 144">
            <a:extLst>
              <a:ext uri="{FF2B5EF4-FFF2-40B4-BE49-F238E27FC236}">
                <a16:creationId xmlns:a16="http://schemas.microsoft.com/office/drawing/2014/main" id="{A292082B-B5F8-6736-8C41-9F690648C604}"/>
              </a:ext>
            </a:extLst>
          </p:cNvPr>
          <p:cNvCxnSpPr>
            <a:cxnSpLocks noChangeShapeType="1"/>
          </p:cNvCxnSpPr>
          <p:nvPr/>
        </p:nvCxnSpPr>
        <p:spPr bwMode="auto">
          <a:xfrm flipH="1" flipV="1">
            <a:off x="2851305" y="571500"/>
            <a:ext cx="452921" cy="147463"/>
          </a:xfrm>
          <a:prstGeom prst="straightConnector1">
            <a:avLst/>
          </a:prstGeom>
          <a:noFill/>
          <a:ln w="25400" algn="ctr">
            <a:solidFill>
              <a:schemeClr val="tx1"/>
            </a:solidFill>
            <a:round/>
            <a:headEnd/>
            <a:tailEnd type="arrow" w="med" len="med"/>
          </a:ln>
          <a:extLst>
            <a:ext uri="{909E8E84-426E-40DD-AFC4-6F175D3DCCD1}">
              <a14:hiddenFill xmlns:a14="http://schemas.microsoft.com/office/drawing/2010/main">
                <a:noFill/>
              </a14:hiddenFill>
            </a:ext>
          </a:extLst>
        </p:spPr>
      </p:cxnSp>
      <p:sp>
        <p:nvSpPr>
          <p:cNvPr id="26" name="TextBox 44">
            <a:extLst>
              <a:ext uri="{FF2B5EF4-FFF2-40B4-BE49-F238E27FC236}">
                <a16:creationId xmlns:a16="http://schemas.microsoft.com/office/drawing/2014/main" id="{2BA40EA7-2E27-CC87-1F7A-5294551EB498}"/>
              </a:ext>
            </a:extLst>
          </p:cNvPr>
          <p:cNvSpPr txBox="1">
            <a:spLocks noChangeArrowheads="1"/>
          </p:cNvSpPr>
          <p:nvPr/>
        </p:nvSpPr>
        <p:spPr bwMode="auto">
          <a:xfrm>
            <a:off x="10585109" y="1658135"/>
            <a:ext cx="1500187"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2400">
                <a:solidFill>
                  <a:srgbClr val="0000FF"/>
                </a:solidFill>
                <a:latin typeface="Tahoma" panose="020B0604030504040204" pitchFamily="34" charset="0"/>
              </a:defRPr>
            </a:lvl1pPr>
            <a:lvl2pPr marL="742950" indent="-285750">
              <a:defRPr sz="2400">
                <a:solidFill>
                  <a:srgbClr val="0000FF"/>
                </a:solidFill>
                <a:latin typeface="Tahoma" panose="020B0604030504040204" pitchFamily="34" charset="0"/>
              </a:defRPr>
            </a:lvl2pPr>
            <a:lvl3pPr marL="1143000" indent="-228600">
              <a:defRPr sz="2400">
                <a:solidFill>
                  <a:srgbClr val="0000FF"/>
                </a:solidFill>
                <a:latin typeface="Tahoma" panose="020B0604030504040204" pitchFamily="34" charset="0"/>
              </a:defRPr>
            </a:lvl3pPr>
            <a:lvl4pPr marL="1600200" indent="-228600">
              <a:defRPr sz="2400">
                <a:solidFill>
                  <a:srgbClr val="0000FF"/>
                </a:solidFill>
                <a:latin typeface="Tahoma" panose="020B0604030504040204" pitchFamily="34" charset="0"/>
              </a:defRPr>
            </a:lvl4pPr>
            <a:lvl5pPr marL="2057400" indent="-228600">
              <a:defRPr sz="2400">
                <a:solidFill>
                  <a:srgbClr val="0000FF"/>
                </a:solidFill>
                <a:latin typeface="Tahoma" panose="020B0604030504040204" pitchFamily="34" charset="0"/>
              </a:defRPr>
            </a:lvl5pPr>
            <a:lvl6pPr marL="2514600" indent="-228600" algn="ctr" eaLnBrk="0" fontAlgn="base" hangingPunct="0">
              <a:spcBef>
                <a:spcPct val="0"/>
              </a:spcBef>
              <a:spcAft>
                <a:spcPct val="0"/>
              </a:spcAft>
              <a:defRPr sz="2400">
                <a:solidFill>
                  <a:srgbClr val="0000FF"/>
                </a:solidFill>
                <a:latin typeface="Tahoma" panose="020B0604030504040204" pitchFamily="34" charset="0"/>
              </a:defRPr>
            </a:lvl6pPr>
            <a:lvl7pPr marL="2971800" indent="-228600" algn="ctr" eaLnBrk="0" fontAlgn="base" hangingPunct="0">
              <a:spcBef>
                <a:spcPct val="0"/>
              </a:spcBef>
              <a:spcAft>
                <a:spcPct val="0"/>
              </a:spcAft>
              <a:defRPr sz="2400">
                <a:solidFill>
                  <a:srgbClr val="0000FF"/>
                </a:solidFill>
                <a:latin typeface="Tahoma" panose="020B0604030504040204" pitchFamily="34" charset="0"/>
              </a:defRPr>
            </a:lvl7pPr>
            <a:lvl8pPr marL="3429000" indent="-228600" algn="ctr" eaLnBrk="0" fontAlgn="base" hangingPunct="0">
              <a:spcBef>
                <a:spcPct val="0"/>
              </a:spcBef>
              <a:spcAft>
                <a:spcPct val="0"/>
              </a:spcAft>
              <a:defRPr sz="2400">
                <a:solidFill>
                  <a:srgbClr val="0000FF"/>
                </a:solidFill>
                <a:latin typeface="Tahoma" panose="020B0604030504040204" pitchFamily="34" charset="0"/>
              </a:defRPr>
            </a:lvl8pPr>
            <a:lvl9pPr marL="3886200" indent="-228600" algn="ctr" eaLnBrk="0" fontAlgn="base" hangingPunct="0">
              <a:spcBef>
                <a:spcPct val="0"/>
              </a:spcBef>
              <a:spcAft>
                <a:spcPct val="0"/>
              </a:spcAft>
              <a:defRPr sz="2400">
                <a:solidFill>
                  <a:srgbClr val="0000FF"/>
                </a:solidFill>
                <a:latin typeface="Tahoma" panose="020B0604030504040204" pitchFamily="34" charset="0"/>
              </a:defRPr>
            </a:lvl9pPr>
          </a:lstStyle>
          <a:p>
            <a:r>
              <a:rPr lang="en-GB" altLang="en-US" sz="1400" dirty="0"/>
              <a:t>Planned Maintenance</a:t>
            </a:r>
          </a:p>
        </p:txBody>
      </p:sp>
      <p:sp>
        <p:nvSpPr>
          <p:cNvPr id="27" name="TextBox 44">
            <a:extLst>
              <a:ext uri="{FF2B5EF4-FFF2-40B4-BE49-F238E27FC236}">
                <a16:creationId xmlns:a16="http://schemas.microsoft.com/office/drawing/2014/main" id="{B3A9E6B5-4E62-0242-CCB0-9219C64AF12C}"/>
              </a:ext>
            </a:extLst>
          </p:cNvPr>
          <p:cNvSpPr txBox="1">
            <a:spLocks noChangeArrowheads="1"/>
          </p:cNvSpPr>
          <p:nvPr/>
        </p:nvSpPr>
        <p:spPr bwMode="auto">
          <a:xfrm>
            <a:off x="1845468" y="372450"/>
            <a:ext cx="1500187"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2400">
                <a:solidFill>
                  <a:srgbClr val="0000FF"/>
                </a:solidFill>
                <a:latin typeface="Tahoma" panose="020B0604030504040204" pitchFamily="34" charset="0"/>
              </a:defRPr>
            </a:lvl1pPr>
            <a:lvl2pPr marL="742950" indent="-285750">
              <a:defRPr sz="2400">
                <a:solidFill>
                  <a:srgbClr val="0000FF"/>
                </a:solidFill>
                <a:latin typeface="Tahoma" panose="020B0604030504040204" pitchFamily="34" charset="0"/>
              </a:defRPr>
            </a:lvl2pPr>
            <a:lvl3pPr marL="1143000" indent="-228600">
              <a:defRPr sz="2400">
                <a:solidFill>
                  <a:srgbClr val="0000FF"/>
                </a:solidFill>
                <a:latin typeface="Tahoma" panose="020B0604030504040204" pitchFamily="34" charset="0"/>
              </a:defRPr>
            </a:lvl3pPr>
            <a:lvl4pPr marL="1600200" indent="-228600">
              <a:defRPr sz="2400">
                <a:solidFill>
                  <a:srgbClr val="0000FF"/>
                </a:solidFill>
                <a:latin typeface="Tahoma" panose="020B0604030504040204" pitchFamily="34" charset="0"/>
              </a:defRPr>
            </a:lvl4pPr>
            <a:lvl5pPr marL="2057400" indent="-228600">
              <a:defRPr sz="2400">
                <a:solidFill>
                  <a:srgbClr val="0000FF"/>
                </a:solidFill>
                <a:latin typeface="Tahoma" panose="020B0604030504040204" pitchFamily="34" charset="0"/>
              </a:defRPr>
            </a:lvl5pPr>
            <a:lvl6pPr marL="2514600" indent="-228600" algn="ctr" eaLnBrk="0" fontAlgn="base" hangingPunct="0">
              <a:spcBef>
                <a:spcPct val="0"/>
              </a:spcBef>
              <a:spcAft>
                <a:spcPct val="0"/>
              </a:spcAft>
              <a:defRPr sz="2400">
                <a:solidFill>
                  <a:srgbClr val="0000FF"/>
                </a:solidFill>
                <a:latin typeface="Tahoma" panose="020B0604030504040204" pitchFamily="34" charset="0"/>
              </a:defRPr>
            </a:lvl6pPr>
            <a:lvl7pPr marL="2971800" indent="-228600" algn="ctr" eaLnBrk="0" fontAlgn="base" hangingPunct="0">
              <a:spcBef>
                <a:spcPct val="0"/>
              </a:spcBef>
              <a:spcAft>
                <a:spcPct val="0"/>
              </a:spcAft>
              <a:defRPr sz="2400">
                <a:solidFill>
                  <a:srgbClr val="0000FF"/>
                </a:solidFill>
                <a:latin typeface="Tahoma" panose="020B0604030504040204" pitchFamily="34" charset="0"/>
              </a:defRPr>
            </a:lvl7pPr>
            <a:lvl8pPr marL="3429000" indent="-228600" algn="ctr" eaLnBrk="0" fontAlgn="base" hangingPunct="0">
              <a:spcBef>
                <a:spcPct val="0"/>
              </a:spcBef>
              <a:spcAft>
                <a:spcPct val="0"/>
              </a:spcAft>
              <a:defRPr sz="2400">
                <a:solidFill>
                  <a:srgbClr val="0000FF"/>
                </a:solidFill>
                <a:latin typeface="Tahoma" panose="020B0604030504040204" pitchFamily="34" charset="0"/>
              </a:defRPr>
            </a:lvl8pPr>
            <a:lvl9pPr marL="3886200" indent="-228600" algn="ctr" eaLnBrk="0" fontAlgn="base" hangingPunct="0">
              <a:spcBef>
                <a:spcPct val="0"/>
              </a:spcBef>
              <a:spcAft>
                <a:spcPct val="0"/>
              </a:spcAft>
              <a:defRPr sz="2400">
                <a:solidFill>
                  <a:srgbClr val="0000FF"/>
                </a:solidFill>
                <a:latin typeface="Tahoma" panose="020B0604030504040204" pitchFamily="34" charset="0"/>
              </a:defRPr>
            </a:lvl9pPr>
          </a:lstStyle>
          <a:p>
            <a:r>
              <a:rPr lang="en-GB" altLang="en-US" sz="1400" dirty="0"/>
              <a:t>Procedures</a:t>
            </a:r>
          </a:p>
        </p:txBody>
      </p:sp>
      <p:sp>
        <p:nvSpPr>
          <p:cNvPr id="28" name="TextBox 44">
            <a:extLst>
              <a:ext uri="{FF2B5EF4-FFF2-40B4-BE49-F238E27FC236}">
                <a16:creationId xmlns:a16="http://schemas.microsoft.com/office/drawing/2014/main" id="{CF8D13FC-63F7-153E-7060-3FD4C0486A59}"/>
              </a:ext>
            </a:extLst>
          </p:cNvPr>
          <p:cNvSpPr txBox="1">
            <a:spLocks noChangeArrowheads="1"/>
          </p:cNvSpPr>
          <p:nvPr/>
        </p:nvSpPr>
        <p:spPr bwMode="auto">
          <a:xfrm>
            <a:off x="3833279" y="6418361"/>
            <a:ext cx="2239441"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2400">
                <a:solidFill>
                  <a:srgbClr val="0000FF"/>
                </a:solidFill>
                <a:latin typeface="Tahoma" panose="020B0604030504040204" pitchFamily="34" charset="0"/>
              </a:defRPr>
            </a:lvl1pPr>
            <a:lvl2pPr marL="742950" indent="-285750">
              <a:defRPr sz="2400">
                <a:solidFill>
                  <a:srgbClr val="0000FF"/>
                </a:solidFill>
                <a:latin typeface="Tahoma" panose="020B0604030504040204" pitchFamily="34" charset="0"/>
              </a:defRPr>
            </a:lvl2pPr>
            <a:lvl3pPr marL="1143000" indent="-228600">
              <a:defRPr sz="2400">
                <a:solidFill>
                  <a:srgbClr val="0000FF"/>
                </a:solidFill>
                <a:latin typeface="Tahoma" panose="020B0604030504040204" pitchFamily="34" charset="0"/>
              </a:defRPr>
            </a:lvl3pPr>
            <a:lvl4pPr marL="1600200" indent="-228600">
              <a:defRPr sz="2400">
                <a:solidFill>
                  <a:srgbClr val="0000FF"/>
                </a:solidFill>
                <a:latin typeface="Tahoma" panose="020B0604030504040204" pitchFamily="34" charset="0"/>
              </a:defRPr>
            </a:lvl4pPr>
            <a:lvl5pPr marL="2057400" indent="-228600">
              <a:defRPr sz="2400">
                <a:solidFill>
                  <a:srgbClr val="0000FF"/>
                </a:solidFill>
                <a:latin typeface="Tahoma" panose="020B0604030504040204" pitchFamily="34" charset="0"/>
              </a:defRPr>
            </a:lvl5pPr>
            <a:lvl6pPr marL="2514600" indent="-228600" algn="ctr" eaLnBrk="0" fontAlgn="base" hangingPunct="0">
              <a:spcBef>
                <a:spcPct val="0"/>
              </a:spcBef>
              <a:spcAft>
                <a:spcPct val="0"/>
              </a:spcAft>
              <a:defRPr sz="2400">
                <a:solidFill>
                  <a:srgbClr val="0000FF"/>
                </a:solidFill>
                <a:latin typeface="Tahoma" panose="020B0604030504040204" pitchFamily="34" charset="0"/>
              </a:defRPr>
            </a:lvl6pPr>
            <a:lvl7pPr marL="2971800" indent="-228600" algn="ctr" eaLnBrk="0" fontAlgn="base" hangingPunct="0">
              <a:spcBef>
                <a:spcPct val="0"/>
              </a:spcBef>
              <a:spcAft>
                <a:spcPct val="0"/>
              </a:spcAft>
              <a:defRPr sz="2400">
                <a:solidFill>
                  <a:srgbClr val="0000FF"/>
                </a:solidFill>
                <a:latin typeface="Tahoma" panose="020B0604030504040204" pitchFamily="34" charset="0"/>
              </a:defRPr>
            </a:lvl7pPr>
            <a:lvl8pPr marL="3429000" indent="-228600" algn="ctr" eaLnBrk="0" fontAlgn="base" hangingPunct="0">
              <a:spcBef>
                <a:spcPct val="0"/>
              </a:spcBef>
              <a:spcAft>
                <a:spcPct val="0"/>
              </a:spcAft>
              <a:defRPr sz="2400">
                <a:solidFill>
                  <a:srgbClr val="0000FF"/>
                </a:solidFill>
                <a:latin typeface="Tahoma" panose="020B0604030504040204" pitchFamily="34" charset="0"/>
              </a:defRPr>
            </a:lvl8pPr>
            <a:lvl9pPr marL="3886200" indent="-228600" algn="ctr" eaLnBrk="0" fontAlgn="base" hangingPunct="0">
              <a:spcBef>
                <a:spcPct val="0"/>
              </a:spcBef>
              <a:spcAft>
                <a:spcPct val="0"/>
              </a:spcAft>
              <a:defRPr sz="2400">
                <a:solidFill>
                  <a:srgbClr val="0000FF"/>
                </a:solidFill>
                <a:latin typeface="Tahoma" panose="020B0604030504040204" pitchFamily="34" charset="0"/>
              </a:defRPr>
            </a:lvl9pPr>
          </a:lstStyle>
          <a:p>
            <a:r>
              <a:rPr lang="en-GB" altLang="en-US" sz="1400" dirty="0"/>
              <a:t>Organisational Change</a:t>
            </a:r>
          </a:p>
        </p:txBody>
      </p:sp>
      <p:sp>
        <p:nvSpPr>
          <p:cNvPr id="29" name="TextBox 44">
            <a:extLst>
              <a:ext uri="{FF2B5EF4-FFF2-40B4-BE49-F238E27FC236}">
                <a16:creationId xmlns:a16="http://schemas.microsoft.com/office/drawing/2014/main" id="{E85CBCE1-DAE9-35BF-EDD7-0E2FDE1EDDB4}"/>
              </a:ext>
            </a:extLst>
          </p:cNvPr>
          <p:cNvSpPr txBox="1">
            <a:spLocks noChangeArrowheads="1"/>
          </p:cNvSpPr>
          <p:nvPr/>
        </p:nvSpPr>
        <p:spPr bwMode="auto">
          <a:xfrm>
            <a:off x="9026859" y="2523987"/>
            <a:ext cx="1500187"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2400">
                <a:solidFill>
                  <a:srgbClr val="0000FF"/>
                </a:solidFill>
                <a:latin typeface="Tahoma" panose="020B0604030504040204" pitchFamily="34" charset="0"/>
              </a:defRPr>
            </a:lvl1pPr>
            <a:lvl2pPr marL="742950" indent="-285750">
              <a:defRPr sz="2400">
                <a:solidFill>
                  <a:srgbClr val="0000FF"/>
                </a:solidFill>
                <a:latin typeface="Tahoma" panose="020B0604030504040204" pitchFamily="34" charset="0"/>
              </a:defRPr>
            </a:lvl2pPr>
            <a:lvl3pPr marL="1143000" indent="-228600">
              <a:defRPr sz="2400">
                <a:solidFill>
                  <a:srgbClr val="0000FF"/>
                </a:solidFill>
                <a:latin typeface="Tahoma" panose="020B0604030504040204" pitchFamily="34" charset="0"/>
              </a:defRPr>
            </a:lvl3pPr>
            <a:lvl4pPr marL="1600200" indent="-228600">
              <a:defRPr sz="2400">
                <a:solidFill>
                  <a:srgbClr val="0000FF"/>
                </a:solidFill>
                <a:latin typeface="Tahoma" panose="020B0604030504040204" pitchFamily="34" charset="0"/>
              </a:defRPr>
            </a:lvl4pPr>
            <a:lvl5pPr marL="2057400" indent="-228600">
              <a:defRPr sz="2400">
                <a:solidFill>
                  <a:srgbClr val="0000FF"/>
                </a:solidFill>
                <a:latin typeface="Tahoma" panose="020B0604030504040204" pitchFamily="34" charset="0"/>
              </a:defRPr>
            </a:lvl5pPr>
            <a:lvl6pPr marL="2514600" indent="-228600" algn="ctr" eaLnBrk="0" fontAlgn="base" hangingPunct="0">
              <a:spcBef>
                <a:spcPct val="0"/>
              </a:spcBef>
              <a:spcAft>
                <a:spcPct val="0"/>
              </a:spcAft>
              <a:defRPr sz="2400">
                <a:solidFill>
                  <a:srgbClr val="0000FF"/>
                </a:solidFill>
                <a:latin typeface="Tahoma" panose="020B0604030504040204" pitchFamily="34" charset="0"/>
              </a:defRPr>
            </a:lvl6pPr>
            <a:lvl7pPr marL="2971800" indent="-228600" algn="ctr" eaLnBrk="0" fontAlgn="base" hangingPunct="0">
              <a:spcBef>
                <a:spcPct val="0"/>
              </a:spcBef>
              <a:spcAft>
                <a:spcPct val="0"/>
              </a:spcAft>
              <a:defRPr sz="2400">
                <a:solidFill>
                  <a:srgbClr val="0000FF"/>
                </a:solidFill>
                <a:latin typeface="Tahoma" panose="020B0604030504040204" pitchFamily="34" charset="0"/>
              </a:defRPr>
            </a:lvl7pPr>
            <a:lvl8pPr marL="3429000" indent="-228600" algn="ctr" eaLnBrk="0" fontAlgn="base" hangingPunct="0">
              <a:spcBef>
                <a:spcPct val="0"/>
              </a:spcBef>
              <a:spcAft>
                <a:spcPct val="0"/>
              </a:spcAft>
              <a:defRPr sz="2400">
                <a:solidFill>
                  <a:srgbClr val="0000FF"/>
                </a:solidFill>
                <a:latin typeface="Tahoma" panose="020B0604030504040204" pitchFamily="34" charset="0"/>
              </a:defRPr>
            </a:lvl8pPr>
            <a:lvl9pPr marL="3886200" indent="-228600" algn="ctr" eaLnBrk="0" fontAlgn="base" hangingPunct="0">
              <a:spcBef>
                <a:spcPct val="0"/>
              </a:spcBef>
              <a:spcAft>
                <a:spcPct val="0"/>
              </a:spcAft>
              <a:defRPr sz="2400">
                <a:solidFill>
                  <a:srgbClr val="0000FF"/>
                </a:solidFill>
                <a:latin typeface="Tahoma" panose="020B0604030504040204" pitchFamily="34" charset="0"/>
              </a:defRPr>
            </a:lvl9pPr>
          </a:lstStyle>
          <a:p>
            <a:r>
              <a:rPr lang="en-GB" altLang="en-US" sz="1400" dirty="0"/>
              <a:t>Breakdown Maintenance</a:t>
            </a:r>
          </a:p>
        </p:txBody>
      </p:sp>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yH72q3qSK.zUwMeLVXI72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_41Tr_TuN4ko5W.fp3Ul9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pG43dwnXTVYi4ljJNEIf_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_41Tr_TuN4ko5W.fp3Ul9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39NXfcZjC7CtSWw5khKs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Red">
      <a:dk1>
        <a:sysClr val="windowText" lastClr="000000"/>
      </a:dk1>
      <a:lt1>
        <a:sysClr val="window" lastClr="FFFFFF"/>
      </a:lt1>
      <a:dk2>
        <a:srgbClr val="323232"/>
      </a:dk2>
      <a:lt2>
        <a:srgbClr val="E5C243"/>
      </a:lt2>
      <a:accent1>
        <a:srgbClr val="A5300F"/>
      </a:accent1>
      <a:accent2>
        <a:srgbClr val="D55816"/>
      </a:accent2>
      <a:accent3>
        <a:srgbClr val="E19825"/>
      </a:accent3>
      <a:accent4>
        <a:srgbClr val="B19C7D"/>
      </a:accent4>
      <a:accent5>
        <a:srgbClr val="7F5F52"/>
      </a:accent5>
      <a:accent6>
        <a:srgbClr val="B27D49"/>
      </a:accent6>
      <a:hlink>
        <a:srgbClr val="6B9F25"/>
      </a:hlink>
      <a:folHlink>
        <a:srgbClr val="B26B02"/>
      </a:folHlink>
    </a:clrScheme>
    <a:fontScheme name="Contoso v1">
      <a:majorFont>
        <a:latin typeface="Corbel"/>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_30740590_TF34076243" id="{54149988-5BA3-4CCC-B0DD-9C5828AF214E}" vid="{1B31C5A5-A789-409F-B147-D68DA30F243D}"/>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MediaServiceKeyPoints xmlns="7604e031-f840-4ad5-97d2-0b99280ee730" xsi:nil="true"/>
    <_Flow_SignoffStatus xmlns="7604e031-f840-4ad5-97d2-0b99280ee730" xsi:nil="true"/>
    <lcf76f155ced4ddcb4097134ff3c332f xmlns="7604e031-f840-4ad5-97d2-0b99280ee730">
      <Terms xmlns="http://schemas.microsoft.com/office/infopath/2007/PartnerControls"/>
    </lcf76f155ced4ddcb4097134ff3c332f>
    <TaxCatchAll xmlns="c4b40482-04a4-480f-b826-6548c4a2bcf1" xsi:nil="true"/>
    <SharedWithUsers xmlns="c4b40482-04a4-480f-b826-6548c4a2bcf1">
      <UserInfo>
        <DisplayName/>
        <AccountId xsi:nil="true"/>
        <AccountType/>
      </UserInfo>
    </SharedWithUsers>
    <MediaLengthInSeconds xmlns="7604e031-f840-4ad5-97d2-0b99280ee730" xsi:nil="true"/>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0646A3490C442E41AC9620621F1F21BE" ma:contentTypeVersion="18" ma:contentTypeDescription="Create a new document." ma:contentTypeScope="" ma:versionID="2e7a6bcb8f68c3b9a6187eb6046a6f6c">
  <xsd:schema xmlns:xsd="http://www.w3.org/2001/XMLSchema" xmlns:xs="http://www.w3.org/2001/XMLSchema" xmlns:p="http://schemas.microsoft.com/office/2006/metadata/properties" xmlns:ns2="7604e031-f840-4ad5-97d2-0b99280ee730" xmlns:ns3="c4b40482-04a4-480f-b826-6548c4a2bcf1" targetNamespace="http://schemas.microsoft.com/office/2006/metadata/properties" ma:root="true" ma:fieldsID="b78a24c1cfda3600f7e848dea9b519ff" ns2:_="" ns3:_="">
    <xsd:import namespace="7604e031-f840-4ad5-97d2-0b99280ee730"/>
    <xsd:import namespace="c4b40482-04a4-480f-b826-6548c4a2bcf1"/>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GenerationTime" minOccurs="0"/>
                <xsd:element ref="ns2:MediaServiceEventHashCode" minOccurs="0"/>
                <xsd:element ref="ns2:MediaServiceOCR" minOccurs="0"/>
                <xsd:element ref="ns2:MediaServiceDateTaken" minOccurs="0"/>
                <xsd:element ref="ns2:MediaServiceLocation" minOccurs="0"/>
                <xsd:element ref="ns3:SharedWithUsers" minOccurs="0"/>
                <xsd:element ref="ns3:SharedWithDetails" minOccurs="0"/>
                <xsd:element ref="ns2:_Flow_SignoffStatus" minOccurs="0"/>
                <xsd:element ref="ns2:MediaServiceAutoKeyPoints" minOccurs="0"/>
                <xsd:element ref="ns2:MediaServiceKeyPoints" minOccurs="0"/>
                <xsd:element ref="ns2:MediaLengthInSeconds" minOccurs="0"/>
                <xsd:element ref="ns2:lcf76f155ced4ddcb4097134ff3c332f" minOccurs="0"/>
                <xsd:element ref="ns3:TaxCatchAll" minOccurs="0"/>
                <xsd:element ref="ns2:MediaServiceObjectDetectorVersion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7604e031-f840-4ad5-97d2-0b99280ee730"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GenerationTime" ma:index="11" nillable="true" ma:displayName="MediaServiceGenerationTime" ma:hidden="true" ma:internalName="MediaServiceGenerationTime" ma:readOnly="true">
      <xsd:simpleType>
        <xsd:restriction base="dms:Text"/>
      </xsd:simpleType>
    </xsd:element>
    <xsd:element name="MediaServiceEventHashCode" ma:index="12" nillable="true" ma:displayName="MediaServiceEventHashCode" ma:hidden="true" ma:internalName="MediaServiceEventHashCode" ma:readOnly="true">
      <xsd:simpleType>
        <xsd:restriction base="dms:Text"/>
      </xsd:simpleType>
    </xsd:element>
    <xsd:element name="MediaServiceOCR" ma:index="13" nillable="true" ma:displayName="Extracted Text" ma:internalName="MediaServiceOCR" ma:readOnly="true">
      <xsd:simpleType>
        <xsd:restriction base="dms:Note">
          <xsd:maxLength value="255"/>
        </xsd:restriction>
      </xsd:simpleType>
    </xsd:element>
    <xsd:element name="MediaServiceDateTaken" ma:index="14" nillable="true" ma:displayName="MediaServiceDateTaken" ma:hidden="true" ma:internalName="MediaServiceDateTaken" ma:readOnly="true">
      <xsd:simpleType>
        <xsd:restriction base="dms:Text"/>
      </xsd:simpleType>
    </xsd:element>
    <xsd:element name="MediaServiceLocation" ma:index="15" nillable="true" ma:displayName="Location" ma:internalName="MediaServiceLocation" ma:readOnly="true">
      <xsd:simpleType>
        <xsd:restriction base="dms:Text"/>
      </xsd:simpleType>
    </xsd:element>
    <xsd:element name="_Flow_SignoffStatus" ma:index="18" nillable="true" ma:displayName="Sign-off status" ma:internalName="Sign_x002d_off_x0020_status">
      <xsd:simpleType>
        <xsd:restriction base="dms:Text"/>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element name="MediaLengthInSeconds" ma:index="21" nillable="true" ma:displayName="Length (seconds)" ma:internalName="MediaLengthInSeconds" ma:readOnly="true">
      <xsd:simpleType>
        <xsd:restriction base="dms:Unknown"/>
      </xsd:simpleType>
    </xsd:element>
    <xsd:element name="lcf76f155ced4ddcb4097134ff3c332f" ma:index="23" nillable="true" ma:taxonomy="true" ma:internalName="lcf76f155ced4ddcb4097134ff3c332f" ma:taxonomyFieldName="MediaServiceImageTags" ma:displayName="Image Tags" ma:readOnly="false" ma:fieldId="{5cf76f15-5ced-4ddc-b409-7134ff3c332f}" ma:taxonomyMulti="true" ma:sspId="456237a7-7071-4e19-8c1f-699d1949a48e"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5" nillable="true" ma:displayName="MediaServiceObjectDetectorVersions" ma:description="" ma:hidden="true" ma:indexed="true" ma:internalName="MediaServiceObjectDetectorVersions"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c4b40482-04a4-480f-b826-6548c4a2bcf1" elementFormDefault="qualified">
    <xsd:import namespace="http://schemas.microsoft.com/office/2006/documentManagement/types"/>
    <xsd:import namespace="http://schemas.microsoft.com/office/infopath/2007/PartnerControls"/>
    <xsd:element name="SharedWithUsers" ma:index="16"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7" nillable="true" ma:displayName="Shared With Details" ma:internalName="SharedWithDetails" ma:readOnly="true">
      <xsd:simpleType>
        <xsd:restriction base="dms:Note">
          <xsd:maxLength value="255"/>
        </xsd:restriction>
      </xsd:simpleType>
    </xsd:element>
    <xsd:element name="TaxCatchAll" ma:index="24" nillable="true" ma:displayName="Taxonomy Catch All Column" ma:hidden="true" ma:list="{956402f1-dbcc-4c60-a824-dfd545cfc5e6}" ma:internalName="TaxCatchAll" ma:showField="CatchAllData" ma:web="c4b40482-04a4-480f-b826-6548c4a2bcf1">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2519797F-2510-4681-A59B-FCD8F3733FE0}">
  <ds:schemaRefs>
    <ds:schemaRef ds:uri="http://schemas.microsoft.com/office/2006/metadata/properties"/>
    <ds:schemaRef ds:uri="http://schemas.microsoft.com/office/infopath/2007/PartnerControls"/>
    <ds:schemaRef ds:uri="71af3243-3dd4-4a8d-8c0d-dd76da1f02a5"/>
  </ds:schemaRefs>
</ds:datastoreItem>
</file>

<file path=customXml/itemProps2.xml><?xml version="1.0" encoding="utf-8"?>
<ds:datastoreItem xmlns:ds="http://schemas.openxmlformats.org/officeDocument/2006/customXml" ds:itemID="{AA728FFC-0ECD-43AD-97CE-EF4978E2AB41}"/>
</file>

<file path=customXml/itemProps3.xml><?xml version="1.0" encoding="utf-8"?>
<ds:datastoreItem xmlns:ds="http://schemas.openxmlformats.org/officeDocument/2006/customXml" ds:itemID="{A4C31332-3081-4BD9-AD6F-078B4521F357}">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Blue spheres presentation</Template>
  <TotalTime>1223</TotalTime>
  <Words>1084</Words>
  <Application>Microsoft Office PowerPoint</Application>
  <PresentationFormat>Widescreen</PresentationFormat>
  <Paragraphs>150</Paragraphs>
  <Slides>16</Slides>
  <Notes>2</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16</vt:i4>
      </vt:variant>
    </vt:vector>
  </HeadingPairs>
  <TitlesOfParts>
    <vt:vector size="24" baseType="lpstr">
      <vt:lpstr>Arial</vt:lpstr>
      <vt:lpstr>Calibri</vt:lpstr>
      <vt:lpstr>Century Gothic</vt:lpstr>
      <vt:lpstr>Corbel</vt:lpstr>
      <vt:lpstr>Tahoma</vt:lpstr>
      <vt:lpstr>Wingdings</vt:lpstr>
      <vt:lpstr>Office Theme</vt:lpstr>
      <vt:lpstr>think-cell Slide</vt:lpstr>
      <vt:lpstr>Safety Culture  in an Operating Environment</vt:lpstr>
      <vt:lpstr>Introduction</vt:lpstr>
      <vt:lpstr>Major Hazards Arena</vt:lpstr>
      <vt:lpstr>PowerPoint Presentation</vt:lpstr>
      <vt:lpstr>Four Key Questions</vt:lpstr>
      <vt:lpstr>People</vt:lpstr>
      <vt:lpstr>The behaviours of people ultimately determine whether a company is successful in safety or not</vt:lpstr>
      <vt:lpstr>Leadership</vt:lpstr>
      <vt:lpstr>PowerPoint Presentation</vt:lpstr>
      <vt:lpstr>Four Key Questions</vt:lpstr>
      <vt:lpstr>Four Key Thoughts</vt:lpstr>
      <vt:lpstr>Four Key Thoughts</vt:lpstr>
      <vt:lpstr>Four Key Thoughts</vt:lpstr>
      <vt:lpstr>Four Key Thoughts</vt:lpstr>
      <vt:lpstr>Summary</vt:lpstr>
      <vt:lpstr>Thank you</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Ron and Joanne Ramshaw</dc:creator>
  <cp:lastModifiedBy>Ron Ramshaw</cp:lastModifiedBy>
  <cp:revision>2</cp:revision>
  <dcterms:created xsi:type="dcterms:W3CDTF">2023-07-26T19:30:39Z</dcterms:created>
  <dcterms:modified xsi:type="dcterms:W3CDTF">2023-10-19T22:46:1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0646A3490C442E41AC9620621F1F21BE</vt:lpwstr>
  </property>
  <property fmtid="{D5CDD505-2E9C-101B-9397-08002B2CF9AE}" pid="3" name="Order">
    <vt:r8>27525300</vt:r8>
  </property>
  <property fmtid="{D5CDD505-2E9C-101B-9397-08002B2CF9AE}" pid="4" name="_SourceUrl">
    <vt:lpwstr/>
  </property>
  <property fmtid="{D5CDD505-2E9C-101B-9397-08002B2CF9AE}" pid="5" name="_SharedFileIndex">
    <vt:lpwstr/>
  </property>
  <property fmtid="{D5CDD505-2E9C-101B-9397-08002B2CF9AE}" pid="6" name="ComplianceAssetId">
    <vt:lpwstr/>
  </property>
  <property fmtid="{D5CDD505-2E9C-101B-9397-08002B2CF9AE}" pid="7" name="_ExtendedDescription">
    <vt:lpwstr/>
  </property>
  <property fmtid="{D5CDD505-2E9C-101B-9397-08002B2CF9AE}" pid="8" name="TriggerFlowInfo">
    <vt:lpwstr/>
  </property>
  <property fmtid="{D5CDD505-2E9C-101B-9397-08002B2CF9AE}" pid="9" name="MediaServiceImageTags">
    <vt:lpwstr/>
  </property>
</Properties>
</file>